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66" r:id="rId4"/>
    <p:sldId id="262" r:id="rId5"/>
    <p:sldId id="258" r:id="rId6"/>
    <p:sldId id="265" r:id="rId7"/>
    <p:sldId id="260" r:id="rId8"/>
    <p:sldId id="259" r:id="rId9"/>
    <p:sldId id="261" r:id="rId10"/>
    <p:sldId id="267" r:id="rId11"/>
    <p:sldId id="264" r:id="rId12"/>
    <p:sldId id="263" r:id="rId13"/>
  </p:sldIdLst>
  <p:sldSz cx="12192000" cy="6858000"/>
  <p:notesSz cx="6858000" cy="9144000"/>
  <p:defaultTextStyle>
    <a:defPPr>
      <a:defRPr lang="en-IN"/>
    </a:defPPr>
    <a:lvl1pPr algn="l" rtl="0" fontAlgn="base">
      <a:spcBef>
        <a:spcPct val="0"/>
      </a:spcBef>
      <a:spcAft>
        <a:spcPct val="0"/>
      </a:spcAft>
      <a:defRPr kern="1200">
        <a:solidFill>
          <a:schemeClr val="tx1"/>
        </a:solidFill>
        <a:latin typeface="Arial" charset="0"/>
        <a:ea typeface="+mn-ea"/>
        <a:cs typeface="+mn-cs"/>
      </a:defRPr>
    </a:lvl1pPr>
    <a:lvl2pPr marL="594451" algn="l" rtl="0" fontAlgn="base">
      <a:spcBef>
        <a:spcPct val="0"/>
      </a:spcBef>
      <a:spcAft>
        <a:spcPct val="0"/>
      </a:spcAft>
      <a:defRPr kern="1200">
        <a:solidFill>
          <a:schemeClr val="tx1"/>
        </a:solidFill>
        <a:latin typeface="Arial" charset="0"/>
        <a:ea typeface="+mn-ea"/>
        <a:cs typeface="+mn-cs"/>
      </a:defRPr>
    </a:lvl2pPr>
    <a:lvl3pPr marL="1188903" algn="l" rtl="0" fontAlgn="base">
      <a:spcBef>
        <a:spcPct val="0"/>
      </a:spcBef>
      <a:spcAft>
        <a:spcPct val="0"/>
      </a:spcAft>
      <a:defRPr kern="1200">
        <a:solidFill>
          <a:schemeClr val="tx1"/>
        </a:solidFill>
        <a:latin typeface="Arial" charset="0"/>
        <a:ea typeface="+mn-ea"/>
        <a:cs typeface="+mn-cs"/>
      </a:defRPr>
    </a:lvl3pPr>
    <a:lvl4pPr marL="1783354" algn="l" rtl="0" fontAlgn="base">
      <a:spcBef>
        <a:spcPct val="0"/>
      </a:spcBef>
      <a:spcAft>
        <a:spcPct val="0"/>
      </a:spcAft>
      <a:defRPr kern="1200">
        <a:solidFill>
          <a:schemeClr val="tx1"/>
        </a:solidFill>
        <a:latin typeface="Arial" charset="0"/>
        <a:ea typeface="+mn-ea"/>
        <a:cs typeface="+mn-cs"/>
      </a:defRPr>
    </a:lvl4pPr>
    <a:lvl5pPr marL="2377806" algn="l" rtl="0" fontAlgn="base">
      <a:spcBef>
        <a:spcPct val="0"/>
      </a:spcBef>
      <a:spcAft>
        <a:spcPct val="0"/>
      </a:spcAft>
      <a:defRPr kern="1200">
        <a:solidFill>
          <a:schemeClr val="tx1"/>
        </a:solidFill>
        <a:latin typeface="Arial" charset="0"/>
        <a:ea typeface="+mn-ea"/>
        <a:cs typeface="+mn-cs"/>
      </a:defRPr>
    </a:lvl5pPr>
    <a:lvl6pPr marL="2972257" algn="l" defTabSz="1188903" rtl="0" eaLnBrk="1" latinLnBrk="0" hangingPunct="1">
      <a:defRPr kern="1200">
        <a:solidFill>
          <a:schemeClr val="tx1"/>
        </a:solidFill>
        <a:latin typeface="Arial" charset="0"/>
        <a:ea typeface="+mn-ea"/>
        <a:cs typeface="+mn-cs"/>
      </a:defRPr>
    </a:lvl6pPr>
    <a:lvl7pPr marL="3566709" algn="l" defTabSz="1188903" rtl="0" eaLnBrk="1" latinLnBrk="0" hangingPunct="1">
      <a:defRPr kern="1200">
        <a:solidFill>
          <a:schemeClr val="tx1"/>
        </a:solidFill>
        <a:latin typeface="Arial" charset="0"/>
        <a:ea typeface="+mn-ea"/>
        <a:cs typeface="+mn-cs"/>
      </a:defRPr>
    </a:lvl7pPr>
    <a:lvl8pPr marL="4161160" algn="l" defTabSz="1188903" rtl="0" eaLnBrk="1" latinLnBrk="0" hangingPunct="1">
      <a:defRPr kern="1200">
        <a:solidFill>
          <a:schemeClr val="tx1"/>
        </a:solidFill>
        <a:latin typeface="Arial" charset="0"/>
        <a:ea typeface="+mn-ea"/>
        <a:cs typeface="+mn-cs"/>
      </a:defRPr>
    </a:lvl8pPr>
    <a:lvl9pPr marL="4755612" algn="l" defTabSz="118890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691"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1F3C1B-3608-445A-980B-81FE73A1699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IN"/>
        </a:p>
      </dgm:t>
    </dgm:pt>
    <dgm:pt modelId="{707A0B72-1670-480A-8266-B897AC86540A}">
      <dgm:prSet phldrT="[Text]"/>
      <dgm:spPr/>
      <dgm:t>
        <a:bodyPr/>
        <a:lstStyle/>
        <a:p>
          <a:r>
            <a:rPr lang="en-IN" dirty="0"/>
            <a:t>Duplicate Removal</a:t>
          </a:r>
        </a:p>
      </dgm:t>
    </dgm:pt>
    <dgm:pt modelId="{9AAB817B-9FD8-4141-926C-5F2F358502EB}" type="parTrans" cxnId="{03F4448E-B7ED-4534-A438-17B9E5BA49EA}">
      <dgm:prSet/>
      <dgm:spPr/>
      <dgm:t>
        <a:bodyPr/>
        <a:lstStyle/>
        <a:p>
          <a:endParaRPr lang="en-IN"/>
        </a:p>
      </dgm:t>
    </dgm:pt>
    <dgm:pt modelId="{756E3815-BCCB-4C24-89D5-140C800113B1}" type="sibTrans" cxnId="{03F4448E-B7ED-4534-A438-17B9E5BA49EA}">
      <dgm:prSet/>
      <dgm:spPr/>
      <dgm:t>
        <a:bodyPr/>
        <a:lstStyle/>
        <a:p>
          <a:endParaRPr lang="en-IN"/>
        </a:p>
      </dgm:t>
    </dgm:pt>
    <dgm:pt modelId="{0D548CCD-BD41-4A13-898E-1D6A1008EFC2}">
      <dgm:prSet phldrT="[Text]"/>
      <dgm:spPr/>
      <dgm:t>
        <a:bodyPr/>
        <a:lstStyle/>
        <a:p>
          <a:r>
            <a:rPr lang="en-IN" dirty="0"/>
            <a:t>Same </a:t>
          </a:r>
          <a:r>
            <a:rPr lang="en-IN" dirty="0" err="1"/>
            <a:t>LatLong</a:t>
          </a:r>
          <a:r>
            <a:rPr lang="en-IN" dirty="0"/>
            <a:t> and Datetime</a:t>
          </a:r>
        </a:p>
      </dgm:t>
    </dgm:pt>
    <dgm:pt modelId="{2C517CFD-5163-4F60-82DF-E0D2DF4D57BD}" type="parTrans" cxnId="{81C94FD7-5DEF-4C41-A5C0-8116C7517970}">
      <dgm:prSet/>
      <dgm:spPr/>
      <dgm:t>
        <a:bodyPr/>
        <a:lstStyle/>
        <a:p>
          <a:endParaRPr lang="en-IN"/>
        </a:p>
      </dgm:t>
    </dgm:pt>
    <dgm:pt modelId="{F4E2FD7B-6C94-4144-8D44-8907FF14A5D7}" type="sibTrans" cxnId="{81C94FD7-5DEF-4C41-A5C0-8116C7517970}">
      <dgm:prSet/>
      <dgm:spPr/>
      <dgm:t>
        <a:bodyPr/>
        <a:lstStyle/>
        <a:p>
          <a:endParaRPr lang="en-IN"/>
        </a:p>
      </dgm:t>
    </dgm:pt>
    <dgm:pt modelId="{D3526F5E-A25A-4047-91D5-1178EF3F1334}">
      <dgm:prSet phldrT="[Text]"/>
      <dgm:spPr/>
      <dgm:t>
        <a:bodyPr/>
        <a:lstStyle/>
        <a:p>
          <a:r>
            <a:rPr lang="en-IN" dirty="0"/>
            <a:t>Remove Stationary Points </a:t>
          </a:r>
        </a:p>
      </dgm:t>
    </dgm:pt>
    <dgm:pt modelId="{DB41E436-0DB2-4CFF-856F-26DF8B9ACC49}" type="parTrans" cxnId="{2B39519D-E5CF-47FA-8484-356D30696981}">
      <dgm:prSet/>
      <dgm:spPr/>
      <dgm:t>
        <a:bodyPr/>
        <a:lstStyle/>
        <a:p>
          <a:endParaRPr lang="en-IN"/>
        </a:p>
      </dgm:t>
    </dgm:pt>
    <dgm:pt modelId="{211FD9E1-6267-4B0D-8E03-F87DAA14396E}" type="sibTrans" cxnId="{2B39519D-E5CF-47FA-8484-356D30696981}">
      <dgm:prSet/>
      <dgm:spPr/>
      <dgm:t>
        <a:bodyPr/>
        <a:lstStyle/>
        <a:p>
          <a:endParaRPr lang="en-IN"/>
        </a:p>
      </dgm:t>
    </dgm:pt>
    <dgm:pt modelId="{5B1DE00A-146F-47B0-9A51-C5CFCE6ECA16}">
      <dgm:prSet phldrT="[Text]"/>
      <dgm:spPr/>
      <dgm:t>
        <a:bodyPr/>
        <a:lstStyle/>
        <a:p>
          <a:r>
            <a:rPr lang="en-IN" dirty="0"/>
            <a:t>Improves RDP in future</a:t>
          </a:r>
        </a:p>
      </dgm:t>
    </dgm:pt>
    <dgm:pt modelId="{2151AC0D-3481-4755-88AE-597B7CE76139}" type="parTrans" cxnId="{8A1A721A-94F0-4924-BC76-1841BD15AE93}">
      <dgm:prSet/>
      <dgm:spPr/>
      <dgm:t>
        <a:bodyPr/>
        <a:lstStyle/>
        <a:p>
          <a:endParaRPr lang="en-IN"/>
        </a:p>
      </dgm:t>
    </dgm:pt>
    <dgm:pt modelId="{90307323-0213-4B56-B1E2-57D35466548E}" type="sibTrans" cxnId="{8A1A721A-94F0-4924-BC76-1841BD15AE93}">
      <dgm:prSet/>
      <dgm:spPr/>
      <dgm:t>
        <a:bodyPr/>
        <a:lstStyle/>
        <a:p>
          <a:endParaRPr lang="en-IN"/>
        </a:p>
      </dgm:t>
    </dgm:pt>
    <dgm:pt modelId="{09191824-42C6-418A-AA67-32D3F4615321}">
      <dgm:prSet phldrT="[Text]"/>
      <dgm:spPr/>
      <dgm:t>
        <a:bodyPr/>
        <a:lstStyle/>
        <a:p>
          <a:r>
            <a:rPr lang="en-IN" dirty="0"/>
            <a:t>Identify  &amp; Split Trips</a:t>
          </a:r>
        </a:p>
      </dgm:t>
    </dgm:pt>
    <dgm:pt modelId="{7423301C-4C9A-4A1E-A5C7-3D7897483F31}" type="parTrans" cxnId="{9C48C31F-FE06-45A5-9BFC-D59FC2BADA74}">
      <dgm:prSet/>
      <dgm:spPr/>
      <dgm:t>
        <a:bodyPr/>
        <a:lstStyle/>
        <a:p>
          <a:endParaRPr lang="en-IN"/>
        </a:p>
      </dgm:t>
    </dgm:pt>
    <dgm:pt modelId="{25C9F7E5-014E-4712-821B-3534B6A4FFF6}" type="sibTrans" cxnId="{9C48C31F-FE06-45A5-9BFC-D59FC2BADA74}">
      <dgm:prSet/>
      <dgm:spPr/>
      <dgm:t>
        <a:bodyPr/>
        <a:lstStyle/>
        <a:p>
          <a:endParaRPr lang="en-IN"/>
        </a:p>
      </dgm:t>
    </dgm:pt>
    <dgm:pt modelId="{5178143D-5A75-479A-B6B9-E4EF2C8BAC47}">
      <dgm:prSet phldrT="[Text]"/>
      <dgm:spPr/>
      <dgm:t>
        <a:bodyPr/>
        <a:lstStyle/>
        <a:p>
          <a:r>
            <a:rPr lang="en-IN" dirty="0"/>
            <a:t>If Ignition On/Off Available use it</a:t>
          </a:r>
        </a:p>
      </dgm:t>
    </dgm:pt>
    <dgm:pt modelId="{8F86BF0E-DF2E-482B-963F-804516D6608D}" type="parTrans" cxnId="{F7053443-1986-47F8-88FC-3C75100512F2}">
      <dgm:prSet/>
      <dgm:spPr/>
      <dgm:t>
        <a:bodyPr/>
        <a:lstStyle/>
        <a:p>
          <a:endParaRPr lang="en-IN"/>
        </a:p>
      </dgm:t>
    </dgm:pt>
    <dgm:pt modelId="{C0500F17-1390-4333-A0E1-B1D5A6C2C615}" type="sibTrans" cxnId="{F7053443-1986-47F8-88FC-3C75100512F2}">
      <dgm:prSet/>
      <dgm:spPr/>
      <dgm:t>
        <a:bodyPr/>
        <a:lstStyle/>
        <a:p>
          <a:endParaRPr lang="en-IN"/>
        </a:p>
      </dgm:t>
    </dgm:pt>
    <dgm:pt modelId="{ADB1C0F3-EC00-4432-9A36-8A1E523B9AFA}">
      <dgm:prSet phldrT="[Text]"/>
      <dgm:spPr/>
      <dgm:t>
        <a:bodyPr/>
        <a:lstStyle/>
        <a:p>
          <a:r>
            <a:rPr lang="en-IN" dirty="0"/>
            <a:t>Intermediate points with displacement &lt; 35 Meters</a:t>
          </a:r>
        </a:p>
      </dgm:t>
    </dgm:pt>
    <dgm:pt modelId="{CA597B6C-C3BE-47F4-933F-B255142B1865}" type="parTrans" cxnId="{EAED856D-F489-4FBF-AFBB-555ACC5FFD27}">
      <dgm:prSet/>
      <dgm:spPr/>
      <dgm:t>
        <a:bodyPr/>
        <a:lstStyle/>
        <a:p>
          <a:endParaRPr lang="en-IN"/>
        </a:p>
      </dgm:t>
    </dgm:pt>
    <dgm:pt modelId="{E668C1D8-D19D-48C6-8357-893893C750AA}" type="sibTrans" cxnId="{EAED856D-F489-4FBF-AFBB-555ACC5FFD27}">
      <dgm:prSet/>
      <dgm:spPr/>
      <dgm:t>
        <a:bodyPr/>
        <a:lstStyle/>
        <a:p>
          <a:endParaRPr lang="en-IN"/>
        </a:p>
      </dgm:t>
    </dgm:pt>
    <dgm:pt modelId="{A4CFBC4C-A0F1-489F-A616-E99813FD6ACF}">
      <dgm:prSet phldrT="[Text]"/>
      <dgm:spPr/>
      <dgm:t>
        <a:bodyPr/>
        <a:lstStyle/>
        <a:p>
          <a:r>
            <a:rPr lang="en-IN" dirty="0"/>
            <a:t>Stopped for more than 360 Minutes or more than 30 less than 360 but speed &lt; 5 Km/hr</a:t>
          </a:r>
        </a:p>
      </dgm:t>
    </dgm:pt>
    <dgm:pt modelId="{E90AB057-9710-40A7-84BD-D1FC00124683}" type="parTrans" cxnId="{2C80D755-B1B7-46EA-86A2-7BD6CFF52883}">
      <dgm:prSet/>
      <dgm:spPr/>
      <dgm:t>
        <a:bodyPr/>
        <a:lstStyle/>
        <a:p>
          <a:endParaRPr lang="en-IN"/>
        </a:p>
      </dgm:t>
    </dgm:pt>
    <dgm:pt modelId="{4A136982-2835-4250-9CBC-640816810E56}" type="sibTrans" cxnId="{2C80D755-B1B7-46EA-86A2-7BD6CFF52883}">
      <dgm:prSet/>
      <dgm:spPr/>
      <dgm:t>
        <a:bodyPr/>
        <a:lstStyle/>
        <a:p>
          <a:endParaRPr lang="en-IN"/>
        </a:p>
      </dgm:t>
    </dgm:pt>
    <dgm:pt modelId="{8AB384F6-474D-4D8E-9278-4867A1CF8A32}">
      <dgm:prSet phldrT="[Text]"/>
      <dgm:spPr/>
      <dgm:t>
        <a:bodyPr/>
        <a:lstStyle/>
        <a:p>
          <a:r>
            <a:rPr lang="en-IN" dirty="0"/>
            <a:t>Ignore Parked Points</a:t>
          </a:r>
        </a:p>
      </dgm:t>
    </dgm:pt>
    <dgm:pt modelId="{72D098FE-B46A-4153-8AAF-D352177B3A32}" type="parTrans" cxnId="{9A3A77E3-6D00-4018-B73A-2A5C9917AB2E}">
      <dgm:prSet/>
      <dgm:spPr/>
      <dgm:t>
        <a:bodyPr/>
        <a:lstStyle/>
        <a:p>
          <a:endParaRPr lang="en-IN"/>
        </a:p>
      </dgm:t>
    </dgm:pt>
    <dgm:pt modelId="{B07FDA01-C9F9-4C10-A34F-A5BF78932ADB}" type="sibTrans" cxnId="{9A3A77E3-6D00-4018-B73A-2A5C9917AB2E}">
      <dgm:prSet/>
      <dgm:spPr/>
      <dgm:t>
        <a:bodyPr/>
        <a:lstStyle/>
        <a:p>
          <a:endParaRPr lang="en-IN"/>
        </a:p>
      </dgm:t>
    </dgm:pt>
    <dgm:pt modelId="{DD967BA0-FA62-4C32-8869-312E3EF5EFA6}" type="pres">
      <dgm:prSet presAssocID="{061F3C1B-3608-445A-980B-81FE73A16991}" presName="linearFlow" presStyleCnt="0">
        <dgm:presLayoutVars>
          <dgm:dir/>
          <dgm:animLvl val="lvl"/>
          <dgm:resizeHandles val="exact"/>
        </dgm:presLayoutVars>
      </dgm:prSet>
      <dgm:spPr/>
    </dgm:pt>
    <dgm:pt modelId="{875E5D1F-F929-4439-987A-8839BD41756B}" type="pres">
      <dgm:prSet presAssocID="{707A0B72-1670-480A-8266-B897AC86540A}" presName="composite" presStyleCnt="0"/>
      <dgm:spPr/>
    </dgm:pt>
    <dgm:pt modelId="{F08B4264-CFB2-4F1F-8085-CB6859EF5836}" type="pres">
      <dgm:prSet presAssocID="{707A0B72-1670-480A-8266-B897AC86540A}" presName="parTx" presStyleLbl="node1" presStyleIdx="0" presStyleCnt="3">
        <dgm:presLayoutVars>
          <dgm:chMax val="0"/>
          <dgm:chPref val="0"/>
          <dgm:bulletEnabled val="1"/>
        </dgm:presLayoutVars>
      </dgm:prSet>
      <dgm:spPr/>
    </dgm:pt>
    <dgm:pt modelId="{CEA3334F-C9F8-4621-B2F4-94B6147800FB}" type="pres">
      <dgm:prSet presAssocID="{707A0B72-1670-480A-8266-B897AC86540A}" presName="parSh" presStyleLbl="node1" presStyleIdx="0" presStyleCnt="3"/>
      <dgm:spPr/>
    </dgm:pt>
    <dgm:pt modelId="{1E01A481-A54F-4F62-819C-199FAA4FDCB3}" type="pres">
      <dgm:prSet presAssocID="{707A0B72-1670-480A-8266-B897AC86540A}" presName="desTx" presStyleLbl="fgAcc1" presStyleIdx="0" presStyleCnt="3">
        <dgm:presLayoutVars>
          <dgm:bulletEnabled val="1"/>
        </dgm:presLayoutVars>
      </dgm:prSet>
      <dgm:spPr/>
    </dgm:pt>
    <dgm:pt modelId="{FB76AD29-1668-42E4-9595-15A5BE45B8B1}" type="pres">
      <dgm:prSet presAssocID="{756E3815-BCCB-4C24-89D5-140C800113B1}" presName="sibTrans" presStyleLbl="sibTrans2D1" presStyleIdx="0" presStyleCnt="2"/>
      <dgm:spPr/>
    </dgm:pt>
    <dgm:pt modelId="{9306261C-4953-4FF3-BE0F-E5D0B33B2EB1}" type="pres">
      <dgm:prSet presAssocID="{756E3815-BCCB-4C24-89D5-140C800113B1}" presName="connTx" presStyleLbl="sibTrans2D1" presStyleIdx="0" presStyleCnt="2"/>
      <dgm:spPr/>
    </dgm:pt>
    <dgm:pt modelId="{5A07D218-7C46-410E-AE67-F6CFDD0094A6}" type="pres">
      <dgm:prSet presAssocID="{D3526F5E-A25A-4047-91D5-1178EF3F1334}" presName="composite" presStyleCnt="0"/>
      <dgm:spPr/>
    </dgm:pt>
    <dgm:pt modelId="{E5380207-E0D6-4030-BFCB-5CAC60B369C0}" type="pres">
      <dgm:prSet presAssocID="{D3526F5E-A25A-4047-91D5-1178EF3F1334}" presName="parTx" presStyleLbl="node1" presStyleIdx="0" presStyleCnt="3">
        <dgm:presLayoutVars>
          <dgm:chMax val="0"/>
          <dgm:chPref val="0"/>
          <dgm:bulletEnabled val="1"/>
        </dgm:presLayoutVars>
      </dgm:prSet>
      <dgm:spPr/>
    </dgm:pt>
    <dgm:pt modelId="{6BD36CF2-77BE-4EF8-81ED-C010D73162DC}" type="pres">
      <dgm:prSet presAssocID="{D3526F5E-A25A-4047-91D5-1178EF3F1334}" presName="parSh" presStyleLbl="node1" presStyleIdx="1" presStyleCnt="3" custLinFactNeighborY="-4478"/>
      <dgm:spPr/>
    </dgm:pt>
    <dgm:pt modelId="{BB3B7018-1B84-4FD2-9D1C-46FF874790D0}" type="pres">
      <dgm:prSet presAssocID="{D3526F5E-A25A-4047-91D5-1178EF3F1334}" presName="desTx" presStyleLbl="fgAcc1" presStyleIdx="1" presStyleCnt="3">
        <dgm:presLayoutVars>
          <dgm:bulletEnabled val="1"/>
        </dgm:presLayoutVars>
      </dgm:prSet>
      <dgm:spPr/>
    </dgm:pt>
    <dgm:pt modelId="{0F6FEBD4-3B28-40E0-8AD4-F9C2707BE521}" type="pres">
      <dgm:prSet presAssocID="{211FD9E1-6267-4B0D-8E03-F87DAA14396E}" presName="sibTrans" presStyleLbl="sibTrans2D1" presStyleIdx="1" presStyleCnt="2"/>
      <dgm:spPr/>
    </dgm:pt>
    <dgm:pt modelId="{92093381-7894-4F70-A32A-E6548B938373}" type="pres">
      <dgm:prSet presAssocID="{211FD9E1-6267-4B0D-8E03-F87DAA14396E}" presName="connTx" presStyleLbl="sibTrans2D1" presStyleIdx="1" presStyleCnt="2"/>
      <dgm:spPr/>
    </dgm:pt>
    <dgm:pt modelId="{640CD36B-A669-46EC-ACF9-56128EF4925C}" type="pres">
      <dgm:prSet presAssocID="{09191824-42C6-418A-AA67-32D3F4615321}" presName="composite" presStyleCnt="0"/>
      <dgm:spPr/>
    </dgm:pt>
    <dgm:pt modelId="{B675C2A1-040E-480A-A798-8B660A64AAEB}" type="pres">
      <dgm:prSet presAssocID="{09191824-42C6-418A-AA67-32D3F4615321}" presName="parTx" presStyleLbl="node1" presStyleIdx="1" presStyleCnt="3">
        <dgm:presLayoutVars>
          <dgm:chMax val="0"/>
          <dgm:chPref val="0"/>
          <dgm:bulletEnabled val="1"/>
        </dgm:presLayoutVars>
      </dgm:prSet>
      <dgm:spPr/>
    </dgm:pt>
    <dgm:pt modelId="{41542764-B52C-4EC4-93B1-E45355995D1F}" type="pres">
      <dgm:prSet presAssocID="{09191824-42C6-418A-AA67-32D3F4615321}" presName="parSh" presStyleLbl="node1" presStyleIdx="2" presStyleCnt="3"/>
      <dgm:spPr/>
    </dgm:pt>
    <dgm:pt modelId="{84CE2A68-9A81-4E78-B858-ACD709CA1996}" type="pres">
      <dgm:prSet presAssocID="{09191824-42C6-418A-AA67-32D3F4615321}" presName="desTx" presStyleLbl="fgAcc1" presStyleIdx="2" presStyleCnt="3">
        <dgm:presLayoutVars>
          <dgm:bulletEnabled val="1"/>
        </dgm:presLayoutVars>
      </dgm:prSet>
      <dgm:spPr/>
    </dgm:pt>
  </dgm:ptLst>
  <dgm:cxnLst>
    <dgm:cxn modelId="{8A1A721A-94F0-4924-BC76-1841BD15AE93}" srcId="{D3526F5E-A25A-4047-91D5-1178EF3F1334}" destId="{5B1DE00A-146F-47B0-9A51-C5CFCE6ECA16}" srcOrd="0" destOrd="0" parTransId="{2151AC0D-3481-4755-88AE-597B7CE76139}" sibTransId="{90307323-0213-4B56-B1E2-57D35466548E}"/>
    <dgm:cxn modelId="{C3BFCE1D-01D8-4417-AE48-22FACA180EBF}" type="presOf" srcId="{707A0B72-1670-480A-8266-B897AC86540A}" destId="{F08B4264-CFB2-4F1F-8085-CB6859EF5836}" srcOrd="0" destOrd="0" presId="urn:microsoft.com/office/officeart/2005/8/layout/process3"/>
    <dgm:cxn modelId="{9C48C31F-FE06-45A5-9BFC-D59FC2BADA74}" srcId="{061F3C1B-3608-445A-980B-81FE73A16991}" destId="{09191824-42C6-418A-AA67-32D3F4615321}" srcOrd="2" destOrd="0" parTransId="{7423301C-4C9A-4A1E-A5C7-3D7897483F31}" sibTransId="{25C9F7E5-014E-4712-821B-3534B6A4FFF6}"/>
    <dgm:cxn modelId="{C5502330-3774-4FEF-93E7-BA414540C6C6}" type="presOf" srcId="{0D548CCD-BD41-4A13-898E-1D6A1008EFC2}" destId="{1E01A481-A54F-4F62-819C-199FAA4FDCB3}" srcOrd="0" destOrd="0" presId="urn:microsoft.com/office/officeart/2005/8/layout/process3"/>
    <dgm:cxn modelId="{179B393F-440D-45C5-BA93-96A39DEB7BE5}" type="presOf" srcId="{5178143D-5A75-479A-B6B9-E4EF2C8BAC47}" destId="{84CE2A68-9A81-4E78-B858-ACD709CA1996}" srcOrd="0" destOrd="0" presId="urn:microsoft.com/office/officeart/2005/8/layout/process3"/>
    <dgm:cxn modelId="{F7053443-1986-47F8-88FC-3C75100512F2}" srcId="{09191824-42C6-418A-AA67-32D3F4615321}" destId="{5178143D-5A75-479A-B6B9-E4EF2C8BAC47}" srcOrd="0" destOrd="0" parTransId="{8F86BF0E-DF2E-482B-963F-804516D6608D}" sibTransId="{C0500F17-1390-4333-A0E1-B1D5A6C2C615}"/>
    <dgm:cxn modelId="{EAED856D-F489-4FBF-AFBB-555ACC5FFD27}" srcId="{D3526F5E-A25A-4047-91D5-1178EF3F1334}" destId="{ADB1C0F3-EC00-4432-9A36-8A1E523B9AFA}" srcOrd="1" destOrd="0" parTransId="{CA597B6C-C3BE-47F4-933F-B255142B1865}" sibTransId="{E668C1D8-D19D-48C6-8357-893893C750AA}"/>
    <dgm:cxn modelId="{2C80D755-B1B7-46EA-86A2-7BD6CFF52883}" srcId="{09191824-42C6-418A-AA67-32D3F4615321}" destId="{A4CFBC4C-A0F1-489F-A616-E99813FD6ACF}" srcOrd="1" destOrd="0" parTransId="{E90AB057-9710-40A7-84BD-D1FC00124683}" sibTransId="{4A136982-2835-4250-9CBC-640816810E56}"/>
    <dgm:cxn modelId="{BBEB0D79-CC88-4A3A-A63F-75A8A15AE855}" type="presOf" srcId="{D3526F5E-A25A-4047-91D5-1178EF3F1334}" destId="{E5380207-E0D6-4030-BFCB-5CAC60B369C0}" srcOrd="0" destOrd="0" presId="urn:microsoft.com/office/officeart/2005/8/layout/process3"/>
    <dgm:cxn modelId="{BFBE5879-7A9E-4010-9CA4-CC329CE5E0B5}" type="presOf" srcId="{09191824-42C6-418A-AA67-32D3F4615321}" destId="{B675C2A1-040E-480A-A798-8B660A64AAEB}" srcOrd="0" destOrd="0" presId="urn:microsoft.com/office/officeart/2005/8/layout/process3"/>
    <dgm:cxn modelId="{8D688F79-F66D-4366-8FC9-86CC0C3D8981}" type="presOf" srcId="{211FD9E1-6267-4B0D-8E03-F87DAA14396E}" destId="{92093381-7894-4F70-A32A-E6548B938373}" srcOrd="1" destOrd="0" presId="urn:microsoft.com/office/officeart/2005/8/layout/process3"/>
    <dgm:cxn modelId="{7BCC537E-D684-4723-8111-4468D54056C1}" type="presOf" srcId="{707A0B72-1670-480A-8266-B897AC86540A}" destId="{CEA3334F-C9F8-4621-B2F4-94B6147800FB}" srcOrd="1" destOrd="0" presId="urn:microsoft.com/office/officeart/2005/8/layout/process3"/>
    <dgm:cxn modelId="{2DC85E8A-EB47-405F-A241-EE3024082F2A}" type="presOf" srcId="{211FD9E1-6267-4B0D-8E03-F87DAA14396E}" destId="{0F6FEBD4-3B28-40E0-8AD4-F9C2707BE521}" srcOrd="0" destOrd="0" presId="urn:microsoft.com/office/officeart/2005/8/layout/process3"/>
    <dgm:cxn modelId="{03F4448E-B7ED-4534-A438-17B9E5BA49EA}" srcId="{061F3C1B-3608-445A-980B-81FE73A16991}" destId="{707A0B72-1670-480A-8266-B897AC86540A}" srcOrd="0" destOrd="0" parTransId="{9AAB817B-9FD8-4141-926C-5F2F358502EB}" sibTransId="{756E3815-BCCB-4C24-89D5-140C800113B1}"/>
    <dgm:cxn modelId="{2B39519D-E5CF-47FA-8484-356D30696981}" srcId="{061F3C1B-3608-445A-980B-81FE73A16991}" destId="{D3526F5E-A25A-4047-91D5-1178EF3F1334}" srcOrd="1" destOrd="0" parTransId="{DB41E436-0DB2-4CFF-856F-26DF8B9ACC49}" sibTransId="{211FD9E1-6267-4B0D-8E03-F87DAA14396E}"/>
    <dgm:cxn modelId="{5AD91AA3-7BE6-4DAF-93C8-B39F24D65242}" type="presOf" srcId="{A4CFBC4C-A0F1-489F-A616-E99813FD6ACF}" destId="{84CE2A68-9A81-4E78-B858-ACD709CA1996}" srcOrd="0" destOrd="1" presId="urn:microsoft.com/office/officeart/2005/8/layout/process3"/>
    <dgm:cxn modelId="{BDFCA6A3-12D9-48D7-8BA8-683A6B7638F8}" type="presOf" srcId="{D3526F5E-A25A-4047-91D5-1178EF3F1334}" destId="{6BD36CF2-77BE-4EF8-81ED-C010D73162DC}" srcOrd="1" destOrd="0" presId="urn:microsoft.com/office/officeart/2005/8/layout/process3"/>
    <dgm:cxn modelId="{34CCC7A9-4CFA-4D1F-B177-FFCDDB837B7D}" type="presOf" srcId="{061F3C1B-3608-445A-980B-81FE73A16991}" destId="{DD967BA0-FA62-4C32-8869-312E3EF5EFA6}" srcOrd="0" destOrd="0" presId="urn:microsoft.com/office/officeart/2005/8/layout/process3"/>
    <dgm:cxn modelId="{64440FB9-8D46-4099-B835-780D131880C7}" type="presOf" srcId="{5B1DE00A-146F-47B0-9A51-C5CFCE6ECA16}" destId="{BB3B7018-1B84-4FD2-9D1C-46FF874790D0}" srcOrd="0" destOrd="0" presId="urn:microsoft.com/office/officeart/2005/8/layout/process3"/>
    <dgm:cxn modelId="{851934BE-B77C-4F45-8517-2AC027AEA747}" type="presOf" srcId="{8AB384F6-474D-4D8E-9278-4867A1CF8A32}" destId="{84CE2A68-9A81-4E78-B858-ACD709CA1996}" srcOrd="0" destOrd="2" presId="urn:microsoft.com/office/officeart/2005/8/layout/process3"/>
    <dgm:cxn modelId="{B5EA88CD-67AB-45D5-A7BD-D78C7E0652E0}" type="presOf" srcId="{ADB1C0F3-EC00-4432-9A36-8A1E523B9AFA}" destId="{BB3B7018-1B84-4FD2-9D1C-46FF874790D0}" srcOrd="0" destOrd="1" presId="urn:microsoft.com/office/officeart/2005/8/layout/process3"/>
    <dgm:cxn modelId="{5C52EED3-C05C-46AC-BD0E-6E74187096C1}" type="presOf" srcId="{09191824-42C6-418A-AA67-32D3F4615321}" destId="{41542764-B52C-4EC4-93B1-E45355995D1F}" srcOrd="1" destOrd="0" presId="urn:microsoft.com/office/officeart/2005/8/layout/process3"/>
    <dgm:cxn modelId="{81C94FD7-5DEF-4C41-A5C0-8116C7517970}" srcId="{707A0B72-1670-480A-8266-B897AC86540A}" destId="{0D548CCD-BD41-4A13-898E-1D6A1008EFC2}" srcOrd="0" destOrd="0" parTransId="{2C517CFD-5163-4F60-82DF-E0D2DF4D57BD}" sibTransId="{F4E2FD7B-6C94-4144-8D44-8907FF14A5D7}"/>
    <dgm:cxn modelId="{94C68FD7-8D08-40CB-B6EA-CE0C9D081E44}" type="presOf" srcId="{756E3815-BCCB-4C24-89D5-140C800113B1}" destId="{FB76AD29-1668-42E4-9595-15A5BE45B8B1}" srcOrd="0" destOrd="0" presId="urn:microsoft.com/office/officeart/2005/8/layout/process3"/>
    <dgm:cxn modelId="{9A3A77E3-6D00-4018-B73A-2A5C9917AB2E}" srcId="{09191824-42C6-418A-AA67-32D3F4615321}" destId="{8AB384F6-474D-4D8E-9278-4867A1CF8A32}" srcOrd="2" destOrd="0" parTransId="{72D098FE-B46A-4153-8AAF-D352177B3A32}" sibTransId="{B07FDA01-C9F9-4C10-A34F-A5BF78932ADB}"/>
    <dgm:cxn modelId="{69E0A9E3-3CF9-44F0-8120-15034A548506}" type="presOf" srcId="{756E3815-BCCB-4C24-89D5-140C800113B1}" destId="{9306261C-4953-4FF3-BE0F-E5D0B33B2EB1}" srcOrd="1" destOrd="0" presId="urn:microsoft.com/office/officeart/2005/8/layout/process3"/>
    <dgm:cxn modelId="{1B4A3E96-CA95-4A60-96B4-8546FC28A733}" type="presParOf" srcId="{DD967BA0-FA62-4C32-8869-312E3EF5EFA6}" destId="{875E5D1F-F929-4439-987A-8839BD41756B}" srcOrd="0" destOrd="0" presId="urn:microsoft.com/office/officeart/2005/8/layout/process3"/>
    <dgm:cxn modelId="{9F66C6A2-AFA2-44FC-8771-D68D29A18906}" type="presParOf" srcId="{875E5D1F-F929-4439-987A-8839BD41756B}" destId="{F08B4264-CFB2-4F1F-8085-CB6859EF5836}" srcOrd="0" destOrd="0" presId="urn:microsoft.com/office/officeart/2005/8/layout/process3"/>
    <dgm:cxn modelId="{2E668C33-F0F6-4DA2-A4F4-C227B27C49BE}" type="presParOf" srcId="{875E5D1F-F929-4439-987A-8839BD41756B}" destId="{CEA3334F-C9F8-4621-B2F4-94B6147800FB}" srcOrd="1" destOrd="0" presId="urn:microsoft.com/office/officeart/2005/8/layout/process3"/>
    <dgm:cxn modelId="{B4E28031-42CE-4C0C-8164-0148786914C9}" type="presParOf" srcId="{875E5D1F-F929-4439-987A-8839BD41756B}" destId="{1E01A481-A54F-4F62-819C-199FAA4FDCB3}" srcOrd="2" destOrd="0" presId="urn:microsoft.com/office/officeart/2005/8/layout/process3"/>
    <dgm:cxn modelId="{C7E6498B-23AD-463D-A679-0A0190E3D1E1}" type="presParOf" srcId="{DD967BA0-FA62-4C32-8869-312E3EF5EFA6}" destId="{FB76AD29-1668-42E4-9595-15A5BE45B8B1}" srcOrd="1" destOrd="0" presId="urn:microsoft.com/office/officeart/2005/8/layout/process3"/>
    <dgm:cxn modelId="{49C0358D-F3F6-4868-9C26-B1D7CD1C135C}" type="presParOf" srcId="{FB76AD29-1668-42E4-9595-15A5BE45B8B1}" destId="{9306261C-4953-4FF3-BE0F-E5D0B33B2EB1}" srcOrd="0" destOrd="0" presId="urn:microsoft.com/office/officeart/2005/8/layout/process3"/>
    <dgm:cxn modelId="{9768A156-67E4-4289-BDE4-DC6F4D6659BA}" type="presParOf" srcId="{DD967BA0-FA62-4C32-8869-312E3EF5EFA6}" destId="{5A07D218-7C46-410E-AE67-F6CFDD0094A6}" srcOrd="2" destOrd="0" presId="urn:microsoft.com/office/officeart/2005/8/layout/process3"/>
    <dgm:cxn modelId="{ED0E0305-1271-4339-BEFB-6BB4B6A9E919}" type="presParOf" srcId="{5A07D218-7C46-410E-AE67-F6CFDD0094A6}" destId="{E5380207-E0D6-4030-BFCB-5CAC60B369C0}" srcOrd="0" destOrd="0" presId="urn:microsoft.com/office/officeart/2005/8/layout/process3"/>
    <dgm:cxn modelId="{8E897CC0-2C64-4851-8E44-9C965390F2C3}" type="presParOf" srcId="{5A07D218-7C46-410E-AE67-F6CFDD0094A6}" destId="{6BD36CF2-77BE-4EF8-81ED-C010D73162DC}" srcOrd="1" destOrd="0" presId="urn:microsoft.com/office/officeart/2005/8/layout/process3"/>
    <dgm:cxn modelId="{FCA367E6-6F08-42E4-A0B3-676AF1689A5F}" type="presParOf" srcId="{5A07D218-7C46-410E-AE67-F6CFDD0094A6}" destId="{BB3B7018-1B84-4FD2-9D1C-46FF874790D0}" srcOrd="2" destOrd="0" presId="urn:microsoft.com/office/officeart/2005/8/layout/process3"/>
    <dgm:cxn modelId="{94C06A7C-D583-4089-B14A-29578BC851B5}" type="presParOf" srcId="{DD967BA0-FA62-4C32-8869-312E3EF5EFA6}" destId="{0F6FEBD4-3B28-40E0-8AD4-F9C2707BE521}" srcOrd="3" destOrd="0" presId="urn:microsoft.com/office/officeart/2005/8/layout/process3"/>
    <dgm:cxn modelId="{77BEEB6C-8F69-46AC-BDDB-F330F906463B}" type="presParOf" srcId="{0F6FEBD4-3B28-40E0-8AD4-F9C2707BE521}" destId="{92093381-7894-4F70-A32A-E6548B938373}" srcOrd="0" destOrd="0" presId="urn:microsoft.com/office/officeart/2005/8/layout/process3"/>
    <dgm:cxn modelId="{31B45C37-D338-420D-901B-E7C5BF241F30}" type="presParOf" srcId="{DD967BA0-FA62-4C32-8869-312E3EF5EFA6}" destId="{640CD36B-A669-46EC-ACF9-56128EF4925C}" srcOrd="4" destOrd="0" presId="urn:microsoft.com/office/officeart/2005/8/layout/process3"/>
    <dgm:cxn modelId="{3E0CDBFC-5882-4D7B-891D-01A7A2B4F90E}" type="presParOf" srcId="{640CD36B-A669-46EC-ACF9-56128EF4925C}" destId="{B675C2A1-040E-480A-A798-8B660A64AAEB}" srcOrd="0" destOrd="0" presId="urn:microsoft.com/office/officeart/2005/8/layout/process3"/>
    <dgm:cxn modelId="{700F962C-E90A-4C7B-B137-932D45579D4A}" type="presParOf" srcId="{640CD36B-A669-46EC-ACF9-56128EF4925C}" destId="{41542764-B52C-4EC4-93B1-E45355995D1F}" srcOrd="1" destOrd="0" presId="urn:microsoft.com/office/officeart/2005/8/layout/process3"/>
    <dgm:cxn modelId="{2124D382-DD84-4160-B7C0-5792DAFB9198}" type="presParOf" srcId="{640CD36B-A669-46EC-ACF9-56128EF4925C}" destId="{84CE2A68-9A81-4E78-B858-ACD709CA1996}"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1F3C1B-3608-445A-980B-81FE73A1699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IN"/>
        </a:p>
      </dgm:t>
    </dgm:pt>
    <dgm:pt modelId="{FF7C42EA-3442-420B-9266-09B27E301652}">
      <dgm:prSet phldrT="[Text]"/>
      <dgm:spPr/>
      <dgm:t>
        <a:bodyPr/>
        <a:lstStyle/>
        <a:p>
          <a:r>
            <a:rPr lang="en-IN" dirty="0"/>
            <a:t>Split </a:t>
          </a:r>
          <a:r>
            <a:rPr lang="en-IN" dirty="0" err="1"/>
            <a:t>GeoSpatialSeparated</a:t>
          </a:r>
          <a:r>
            <a:rPr lang="en-IN" dirty="0"/>
            <a:t> Segments in a Trip</a:t>
          </a:r>
        </a:p>
      </dgm:t>
    </dgm:pt>
    <dgm:pt modelId="{E87AFA69-DCD1-4D04-8872-816894FFF68A}" type="parTrans" cxnId="{236B2737-1476-4D63-8D2D-02F0174EB426}">
      <dgm:prSet/>
      <dgm:spPr/>
      <dgm:t>
        <a:bodyPr/>
        <a:lstStyle/>
        <a:p>
          <a:endParaRPr lang="en-IN"/>
        </a:p>
      </dgm:t>
    </dgm:pt>
    <dgm:pt modelId="{089B7D59-8B21-4C9B-9ADC-79259A3BB13E}" type="sibTrans" cxnId="{236B2737-1476-4D63-8D2D-02F0174EB426}">
      <dgm:prSet/>
      <dgm:spPr/>
      <dgm:t>
        <a:bodyPr/>
        <a:lstStyle/>
        <a:p>
          <a:endParaRPr lang="en-IN"/>
        </a:p>
      </dgm:t>
    </dgm:pt>
    <dgm:pt modelId="{54DD834B-28D3-45F5-8A75-E1293D0AE51D}">
      <dgm:prSet phldrT="[Text]"/>
      <dgm:spPr/>
      <dgm:t>
        <a:bodyPr/>
        <a:lstStyle/>
        <a:p>
          <a:r>
            <a:rPr lang="en-IN" dirty="0"/>
            <a:t>Same Trip but vehicle  moving in two Geographies</a:t>
          </a:r>
        </a:p>
      </dgm:t>
    </dgm:pt>
    <dgm:pt modelId="{54418B44-5E04-42F2-A7E5-BDA95BB8CC27}" type="parTrans" cxnId="{E2713EAF-3A46-4F9A-A642-E73B8157EE43}">
      <dgm:prSet/>
      <dgm:spPr/>
      <dgm:t>
        <a:bodyPr/>
        <a:lstStyle/>
        <a:p>
          <a:endParaRPr lang="en-IN"/>
        </a:p>
      </dgm:t>
    </dgm:pt>
    <dgm:pt modelId="{CCFF6364-2866-43DC-9059-B4A28D0D6FE7}" type="sibTrans" cxnId="{E2713EAF-3A46-4F9A-A642-E73B8157EE43}">
      <dgm:prSet/>
      <dgm:spPr/>
      <dgm:t>
        <a:bodyPr/>
        <a:lstStyle/>
        <a:p>
          <a:endParaRPr lang="en-IN"/>
        </a:p>
      </dgm:t>
    </dgm:pt>
    <dgm:pt modelId="{4F2822E1-A703-4B36-83D4-74756677B676}">
      <dgm:prSet phldrT="[Text]"/>
      <dgm:spPr/>
      <dgm:t>
        <a:bodyPr/>
        <a:lstStyle/>
        <a:p>
          <a:r>
            <a:rPr lang="en-IN" dirty="0"/>
            <a:t>Remove Inconsequential Points</a:t>
          </a:r>
        </a:p>
      </dgm:t>
    </dgm:pt>
    <dgm:pt modelId="{C639AC3E-640E-4C98-A495-463BEB49EB52}" type="parTrans" cxnId="{E338C085-E71F-4DAC-8EB5-DCBFCD22D353}">
      <dgm:prSet/>
      <dgm:spPr/>
      <dgm:t>
        <a:bodyPr/>
        <a:lstStyle/>
        <a:p>
          <a:endParaRPr lang="en-IN"/>
        </a:p>
      </dgm:t>
    </dgm:pt>
    <dgm:pt modelId="{55E12B99-7E77-4D22-82FB-91380AC64442}" type="sibTrans" cxnId="{E338C085-E71F-4DAC-8EB5-DCBFCD22D353}">
      <dgm:prSet/>
      <dgm:spPr/>
      <dgm:t>
        <a:bodyPr/>
        <a:lstStyle/>
        <a:p>
          <a:endParaRPr lang="en-IN"/>
        </a:p>
      </dgm:t>
    </dgm:pt>
    <dgm:pt modelId="{25BC9240-3230-458B-BD4A-163C56A4B37D}">
      <dgm:prSet phldrT="[Text]"/>
      <dgm:spPr/>
      <dgm:t>
        <a:bodyPr/>
        <a:lstStyle/>
        <a:p>
          <a:r>
            <a:rPr lang="en-IN" dirty="0"/>
            <a:t>Modified RDP algorithm</a:t>
          </a:r>
        </a:p>
      </dgm:t>
    </dgm:pt>
    <dgm:pt modelId="{5AB75E5F-1EC1-4A63-8746-6B5B96378364}" type="parTrans" cxnId="{8F1A1CEE-4AFE-4C17-9E27-C04BE1CD281A}">
      <dgm:prSet/>
      <dgm:spPr/>
      <dgm:t>
        <a:bodyPr/>
        <a:lstStyle/>
        <a:p>
          <a:endParaRPr lang="en-IN"/>
        </a:p>
      </dgm:t>
    </dgm:pt>
    <dgm:pt modelId="{DDC877D8-4930-4070-98C2-91AC6C777DBD}" type="sibTrans" cxnId="{8F1A1CEE-4AFE-4C17-9E27-C04BE1CD281A}">
      <dgm:prSet/>
      <dgm:spPr/>
      <dgm:t>
        <a:bodyPr/>
        <a:lstStyle/>
        <a:p>
          <a:endParaRPr lang="en-IN"/>
        </a:p>
      </dgm:t>
    </dgm:pt>
    <dgm:pt modelId="{7DB42029-0801-47A1-B579-BAFE96D66C2F}">
      <dgm:prSet phldrT="[Text]"/>
      <dgm:spPr/>
      <dgm:t>
        <a:bodyPr/>
        <a:lstStyle/>
        <a:p>
          <a:r>
            <a:rPr lang="en-IN" dirty="0"/>
            <a:t>Based on Spatial and Speed Deviation</a:t>
          </a:r>
        </a:p>
      </dgm:t>
    </dgm:pt>
    <dgm:pt modelId="{54EECD24-F866-447E-BD0C-F28C93E4665A}" type="parTrans" cxnId="{DD119012-BD9A-4ACE-A4F0-519F520F7309}">
      <dgm:prSet/>
      <dgm:spPr/>
      <dgm:t>
        <a:bodyPr/>
        <a:lstStyle/>
        <a:p>
          <a:endParaRPr lang="en-IN"/>
        </a:p>
      </dgm:t>
    </dgm:pt>
    <dgm:pt modelId="{C18F15C9-3849-46DA-AC7B-1C3DF0E47B17}" type="sibTrans" cxnId="{DD119012-BD9A-4ACE-A4F0-519F520F7309}">
      <dgm:prSet/>
      <dgm:spPr/>
      <dgm:t>
        <a:bodyPr/>
        <a:lstStyle/>
        <a:p>
          <a:endParaRPr lang="en-IN"/>
        </a:p>
      </dgm:t>
    </dgm:pt>
    <dgm:pt modelId="{DD967BA0-FA62-4C32-8869-312E3EF5EFA6}" type="pres">
      <dgm:prSet presAssocID="{061F3C1B-3608-445A-980B-81FE73A16991}" presName="linearFlow" presStyleCnt="0">
        <dgm:presLayoutVars>
          <dgm:dir/>
          <dgm:animLvl val="lvl"/>
          <dgm:resizeHandles val="exact"/>
        </dgm:presLayoutVars>
      </dgm:prSet>
      <dgm:spPr/>
    </dgm:pt>
    <dgm:pt modelId="{A7FF16FE-68A8-4A0C-A293-E525AA5C9BAF}" type="pres">
      <dgm:prSet presAssocID="{FF7C42EA-3442-420B-9266-09B27E301652}" presName="composite" presStyleCnt="0"/>
      <dgm:spPr/>
    </dgm:pt>
    <dgm:pt modelId="{91E068FB-5738-483E-8AC9-83096F92A238}" type="pres">
      <dgm:prSet presAssocID="{FF7C42EA-3442-420B-9266-09B27E301652}" presName="parTx" presStyleLbl="node1" presStyleIdx="0" presStyleCnt="2">
        <dgm:presLayoutVars>
          <dgm:chMax val="0"/>
          <dgm:chPref val="0"/>
          <dgm:bulletEnabled val="1"/>
        </dgm:presLayoutVars>
      </dgm:prSet>
      <dgm:spPr/>
    </dgm:pt>
    <dgm:pt modelId="{25134F21-7A1D-4F9E-9AEE-6E089589334D}" type="pres">
      <dgm:prSet presAssocID="{FF7C42EA-3442-420B-9266-09B27E301652}" presName="parSh" presStyleLbl="node1" presStyleIdx="0" presStyleCnt="2"/>
      <dgm:spPr/>
    </dgm:pt>
    <dgm:pt modelId="{4B87CAAD-FF0C-4EF2-BBF1-2B145295DB6A}" type="pres">
      <dgm:prSet presAssocID="{FF7C42EA-3442-420B-9266-09B27E301652}" presName="desTx" presStyleLbl="fgAcc1" presStyleIdx="0" presStyleCnt="2">
        <dgm:presLayoutVars>
          <dgm:bulletEnabled val="1"/>
        </dgm:presLayoutVars>
      </dgm:prSet>
      <dgm:spPr/>
    </dgm:pt>
    <dgm:pt modelId="{4702BA49-EAFC-4F05-86C6-E6F509AFCCDD}" type="pres">
      <dgm:prSet presAssocID="{089B7D59-8B21-4C9B-9ADC-79259A3BB13E}" presName="sibTrans" presStyleLbl="sibTrans2D1" presStyleIdx="0" presStyleCnt="1"/>
      <dgm:spPr/>
    </dgm:pt>
    <dgm:pt modelId="{7CD13577-C296-457C-8161-6C9E63BD84AE}" type="pres">
      <dgm:prSet presAssocID="{089B7D59-8B21-4C9B-9ADC-79259A3BB13E}" presName="connTx" presStyleLbl="sibTrans2D1" presStyleIdx="0" presStyleCnt="1"/>
      <dgm:spPr/>
    </dgm:pt>
    <dgm:pt modelId="{A183D3E7-696F-4E79-BF67-332B7B537A16}" type="pres">
      <dgm:prSet presAssocID="{4F2822E1-A703-4B36-83D4-74756677B676}" presName="composite" presStyleCnt="0"/>
      <dgm:spPr/>
    </dgm:pt>
    <dgm:pt modelId="{82895A26-53FB-4489-9F68-7B8F5584E7EB}" type="pres">
      <dgm:prSet presAssocID="{4F2822E1-A703-4B36-83D4-74756677B676}" presName="parTx" presStyleLbl="node1" presStyleIdx="0" presStyleCnt="2">
        <dgm:presLayoutVars>
          <dgm:chMax val="0"/>
          <dgm:chPref val="0"/>
          <dgm:bulletEnabled val="1"/>
        </dgm:presLayoutVars>
      </dgm:prSet>
      <dgm:spPr/>
    </dgm:pt>
    <dgm:pt modelId="{3C8D4F4A-F999-41C3-ADB3-D43657A9D917}" type="pres">
      <dgm:prSet presAssocID="{4F2822E1-A703-4B36-83D4-74756677B676}" presName="parSh" presStyleLbl="node1" presStyleIdx="1" presStyleCnt="2"/>
      <dgm:spPr/>
    </dgm:pt>
    <dgm:pt modelId="{AD55A5DF-7F73-428E-A5A8-0F480BBAB9B3}" type="pres">
      <dgm:prSet presAssocID="{4F2822E1-A703-4B36-83D4-74756677B676}" presName="desTx" presStyleLbl="fgAcc1" presStyleIdx="1" presStyleCnt="2">
        <dgm:presLayoutVars>
          <dgm:bulletEnabled val="1"/>
        </dgm:presLayoutVars>
      </dgm:prSet>
      <dgm:spPr/>
    </dgm:pt>
  </dgm:ptLst>
  <dgm:cxnLst>
    <dgm:cxn modelId="{5AF23407-30C1-406D-B486-37AB25D4F935}" type="presOf" srcId="{54DD834B-28D3-45F5-8A75-E1293D0AE51D}" destId="{4B87CAAD-FF0C-4EF2-BBF1-2B145295DB6A}" srcOrd="0" destOrd="0" presId="urn:microsoft.com/office/officeart/2005/8/layout/process3"/>
    <dgm:cxn modelId="{DD119012-BD9A-4ACE-A4F0-519F520F7309}" srcId="{4F2822E1-A703-4B36-83D4-74756677B676}" destId="{7DB42029-0801-47A1-B579-BAFE96D66C2F}" srcOrd="1" destOrd="0" parTransId="{54EECD24-F866-447E-BD0C-F28C93E4665A}" sibTransId="{C18F15C9-3849-46DA-AC7B-1C3DF0E47B17}"/>
    <dgm:cxn modelId="{11096F22-A2B2-4668-8AF4-36B3A672CC86}" type="presOf" srcId="{4F2822E1-A703-4B36-83D4-74756677B676}" destId="{3C8D4F4A-F999-41C3-ADB3-D43657A9D917}" srcOrd="1" destOrd="0" presId="urn:microsoft.com/office/officeart/2005/8/layout/process3"/>
    <dgm:cxn modelId="{236B2737-1476-4D63-8D2D-02F0174EB426}" srcId="{061F3C1B-3608-445A-980B-81FE73A16991}" destId="{FF7C42EA-3442-420B-9266-09B27E301652}" srcOrd="0" destOrd="0" parTransId="{E87AFA69-DCD1-4D04-8872-816894FFF68A}" sibTransId="{089B7D59-8B21-4C9B-9ADC-79259A3BB13E}"/>
    <dgm:cxn modelId="{32C89F4C-B92F-4C5A-AB05-1BC08616C02A}" type="presOf" srcId="{7DB42029-0801-47A1-B579-BAFE96D66C2F}" destId="{AD55A5DF-7F73-428E-A5A8-0F480BBAB9B3}" srcOrd="0" destOrd="1" presId="urn:microsoft.com/office/officeart/2005/8/layout/process3"/>
    <dgm:cxn modelId="{E338C085-E71F-4DAC-8EB5-DCBFCD22D353}" srcId="{061F3C1B-3608-445A-980B-81FE73A16991}" destId="{4F2822E1-A703-4B36-83D4-74756677B676}" srcOrd="1" destOrd="0" parTransId="{C639AC3E-640E-4C98-A495-463BEB49EB52}" sibTransId="{55E12B99-7E77-4D22-82FB-91380AC64442}"/>
    <dgm:cxn modelId="{AE723290-555F-43E0-840A-6C82DE816991}" type="presOf" srcId="{FF7C42EA-3442-420B-9266-09B27E301652}" destId="{25134F21-7A1D-4F9E-9AEE-6E089589334D}" srcOrd="1" destOrd="0" presId="urn:microsoft.com/office/officeart/2005/8/layout/process3"/>
    <dgm:cxn modelId="{E9023F96-02DA-4E43-BE4E-45F13763443D}" type="presOf" srcId="{25BC9240-3230-458B-BD4A-163C56A4B37D}" destId="{AD55A5DF-7F73-428E-A5A8-0F480BBAB9B3}" srcOrd="0" destOrd="0" presId="urn:microsoft.com/office/officeart/2005/8/layout/process3"/>
    <dgm:cxn modelId="{C33DA6A3-D081-4FB2-B39F-A6242BE4FE37}" type="presOf" srcId="{FF7C42EA-3442-420B-9266-09B27E301652}" destId="{91E068FB-5738-483E-8AC9-83096F92A238}" srcOrd="0" destOrd="0" presId="urn:microsoft.com/office/officeart/2005/8/layout/process3"/>
    <dgm:cxn modelId="{34CCC7A9-4CFA-4D1F-B177-FFCDDB837B7D}" type="presOf" srcId="{061F3C1B-3608-445A-980B-81FE73A16991}" destId="{DD967BA0-FA62-4C32-8869-312E3EF5EFA6}" srcOrd="0" destOrd="0" presId="urn:microsoft.com/office/officeart/2005/8/layout/process3"/>
    <dgm:cxn modelId="{E2713EAF-3A46-4F9A-A642-E73B8157EE43}" srcId="{FF7C42EA-3442-420B-9266-09B27E301652}" destId="{54DD834B-28D3-45F5-8A75-E1293D0AE51D}" srcOrd="0" destOrd="0" parTransId="{54418B44-5E04-42F2-A7E5-BDA95BB8CC27}" sibTransId="{CCFF6364-2866-43DC-9059-B4A28D0D6FE7}"/>
    <dgm:cxn modelId="{265054DE-6A92-4421-987C-7643FFA480C0}" type="presOf" srcId="{089B7D59-8B21-4C9B-9ADC-79259A3BB13E}" destId="{7CD13577-C296-457C-8161-6C9E63BD84AE}" srcOrd="1" destOrd="0" presId="urn:microsoft.com/office/officeart/2005/8/layout/process3"/>
    <dgm:cxn modelId="{93C3ADE0-8532-4955-B1B4-88E70D5D0A99}" type="presOf" srcId="{4F2822E1-A703-4B36-83D4-74756677B676}" destId="{82895A26-53FB-4489-9F68-7B8F5584E7EB}" srcOrd="0" destOrd="0" presId="urn:microsoft.com/office/officeart/2005/8/layout/process3"/>
    <dgm:cxn modelId="{B025E9E0-615B-42E9-ACC8-9F7AE49C3244}" type="presOf" srcId="{089B7D59-8B21-4C9B-9ADC-79259A3BB13E}" destId="{4702BA49-EAFC-4F05-86C6-E6F509AFCCDD}" srcOrd="0" destOrd="0" presId="urn:microsoft.com/office/officeart/2005/8/layout/process3"/>
    <dgm:cxn modelId="{8F1A1CEE-4AFE-4C17-9E27-C04BE1CD281A}" srcId="{4F2822E1-A703-4B36-83D4-74756677B676}" destId="{25BC9240-3230-458B-BD4A-163C56A4B37D}" srcOrd="0" destOrd="0" parTransId="{5AB75E5F-1EC1-4A63-8746-6B5B96378364}" sibTransId="{DDC877D8-4930-4070-98C2-91AC6C777DBD}"/>
    <dgm:cxn modelId="{78F5E5D8-C2D0-4B23-A3C9-CB4E2CF3F64F}" type="presParOf" srcId="{DD967BA0-FA62-4C32-8869-312E3EF5EFA6}" destId="{A7FF16FE-68A8-4A0C-A293-E525AA5C9BAF}" srcOrd="0" destOrd="0" presId="urn:microsoft.com/office/officeart/2005/8/layout/process3"/>
    <dgm:cxn modelId="{F85DF02D-FCE5-4F52-8437-7FB17299DB67}" type="presParOf" srcId="{A7FF16FE-68A8-4A0C-A293-E525AA5C9BAF}" destId="{91E068FB-5738-483E-8AC9-83096F92A238}" srcOrd="0" destOrd="0" presId="urn:microsoft.com/office/officeart/2005/8/layout/process3"/>
    <dgm:cxn modelId="{72F51A04-EED7-4994-8C85-17468860BD2D}" type="presParOf" srcId="{A7FF16FE-68A8-4A0C-A293-E525AA5C9BAF}" destId="{25134F21-7A1D-4F9E-9AEE-6E089589334D}" srcOrd="1" destOrd="0" presId="urn:microsoft.com/office/officeart/2005/8/layout/process3"/>
    <dgm:cxn modelId="{431415DD-6E76-4A8A-8C0B-7BD2636E766A}" type="presParOf" srcId="{A7FF16FE-68A8-4A0C-A293-E525AA5C9BAF}" destId="{4B87CAAD-FF0C-4EF2-BBF1-2B145295DB6A}" srcOrd="2" destOrd="0" presId="urn:microsoft.com/office/officeart/2005/8/layout/process3"/>
    <dgm:cxn modelId="{F190861F-F463-45F9-91A7-231028BCA3EC}" type="presParOf" srcId="{DD967BA0-FA62-4C32-8869-312E3EF5EFA6}" destId="{4702BA49-EAFC-4F05-86C6-E6F509AFCCDD}" srcOrd="1" destOrd="0" presId="urn:microsoft.com/office/officeart/2005/8/layout/process3"/>
    <dgm:cxn modelId="{229DE5D3-648E-4493-AA70-411EB6C1180D}" type="presParOf" srcId="{4702BA49-EAFC-4F05-86C6-E6F509AFCCDD}" destId="{7CD13577-C296-457C-8161-6C9E63BD84AE}" srcOrd="0" destOrd="0" presId="urn:microsoft.com/office/officeart/2005/8/layout/process3"/>
    <dgm:cxn modelId="{8A6C513C-B441-4A5F-82F9-5091D30ADCB5}" type="presParOf" srcId="{DD967BA0-FA62-4C32-8869-312E3EF5EFA6}" destId="{A183D3E7-696F-4E79-BF67-332B7B537A16}" srcOrd="2" destOrd="0" presId="urn:microsoft.com/office/officeart/2005/8/layout/process3"/>
    <dgm:cxn modelId="{D3FD0D14-1282-4052-82E2-9F047F19F0C4}" type="presParOf" srcId="{A183D3E7-696F-4E79-BF67-332B7B537A16}" destId="{82895A26-53FB-4489-9F68-7B8F5584E7EB}" srcOrd="0" destOrd="0" presId="urn:microsoft.com/office/officeart/2005/8/layout/process3"/>
    <dgm:cxn modelId="{1D469C12-A592-4ECA-99FF-BFB5D7069D3B}" type="presParOf" srcId="{A183D3E7-696F-4E79-BF67-332B7B537A16}" destId="{3C8D4F4A-F999-41C3-ADB3-D43657A9D917}" srcOrd="1" destOrd="0" presId="urn:microsoft.com/office/officeart/2005/8/layout/process3"/>
    <dgm:cxn modelId="{2F0B42FD-D404-4034-BE2B-BC1A74941EB2}" type="presParOf" srcId="{A183D3E7-696F-4E79-BF67-332B7B537A16}" destId="{AD55A5DF-7F73-428E-A5A8-0F480BBAB9B3}" srcOrd="2" destOrd="0" presId="urn:microsoft.com/office/officeart/2005/8/layout/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E58DB6-A469-433D-8E86-DD19324933EA}"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IN"/>
        </a:p>
      </dgm:t>
    </dgm:pt>
    <dgm:pt modelId="{B4AE77A4-DDD1-4F63-94F0-F585F674EF41}">
      <dgm:prSet phldrT="[Text]"/>
      <dgm:spPr/>
      <dgm:t>
        <a:bodyPr/>
        <a:lstStyle/>
        <a:p>
          <a:r>
            <a:rPr lang="en-IN" dirty="0"/>
            <a:t>Identify </a:t>
          </a:r>
          <a:r>
            <a:rPr lang="en-IN" dirty="0" err="1"/>
            <a:t>Discountinuities</a:t>
          </a:r>
          <a:r>
            <a:rPr lang="en-IN" dirty="0"/>
            <a:t> in the successive points</a:t>
          </a:r>
        </a:p>
      </dgm:t>
    </dgm:pt>
    <dgm:pt modelId="{7430CA49-8138-4609-9C1F-E4B31877A189}" type="parTrans" cxnId="{654CB6AC-103C-4A7E-B9EA-5E32604590BC}">
      <dgm:prSet/>
      <dgm:spPr/>
      <dgm:t>
        <a:bodyPr/>
        <a:lstStyle/>
        <a:p>
          <a:endParaRPr lang="en-IN"/>
        </a:p>
      </dgm:t>
    </dgm:pt>
    <dgm:pt modelId="{CFFAF50C-0906-4FD0-A94F-07A9B67A86C4}" type="sibTrans" cxnId="{654CB6AC-103C-4A7E-B9EA-5E32604590BC}">
      <dgm:prSet/>
      <dgm:spPr/>
      <dgm:t>
        <a:bodyPr/>
        <a:lstStyle/>
        <a:p>
          <a:endParaRPr lang="en-IN"/>
        </a:p>
      </dgm:t>
    </dgm:pt>
    <dgm:pt modelId="{328D7A74-A85D-4ACF-BDEF-E7C905D0A66C}">
      <dgm:prSet phldrT="[Text]"/>
      <dgm:spPr/>
      <dgm:t>
        <a:bodyPr/>
        <a:lstStyle/>
        <a:p>
          <a:r>
            <a:rPr lang="en-IN" dirty="0"/>
            <a:t>Find which earlier Segment it belongs</a:t>
          </a:r>
        </a:p>
      </dgm:t>
    </dgm:pt>
    <dgm:pt modelId="{58792D54-6101-4371-A66E-09656C0BACFC}" type="parTrans" cxnId="{A00956C8-2677-4F58-9182-1975A3BE3493}">
      <dgm:prSet/>
      <dgm:spPr/>
      <dgm:t>
        <a:bodyPr/>
        <a:lstStyle/>
        <a:p>
          <a:endParaRPr lang="en-IN"/>
        </a:p>
      </dgm:t>
    </dgm:pt>
    <dgm:pt modelId="{9B0CA4B4-7B3A-4EAE-A0C4-D535A99D107A}" type="sibTrans" cxnId="{A00956C8-2677-4F58-9182-1975A3BE3493}">
      <dgm:prSet/>
      <dgm:spPr/>
      <dgm:t>
        <a:bodyPr/>
        <a:lstStyle/>
        <a:p>
          <a:endParaRPr lang="en-IN"/>
        </a:p>
      </dgm:t>
    </dgm:pt>
    <dgm:pt modelId="{976F338B-7360-4819-81B2-E9E08714C1C9}">
      <dgm:prSet phldrT="[Text]"/>
      <dgm:spPr/>
      <dgm:t>
        <a:bodyPr/>
        <a:lstStyle/>
        <a:p>
          <a:r>
            <a:rPr lang="en-IN" dirty="0"/>
            <a:t>Check Other Segments other than Segment of Previous Point</a:t>
          </a:r>
        </a:p>
      </dgm:t>
    </dgm:pt>
    <dgm:pt modelId="{E0343870-10CF-495F-A9F1-D180684919D3}" type="parTrans" cxnId="{3B5B6605-DEDB-4A09-BE00-230BDA40154B}">
      <dgm:prSet/>
      <dgm:spPr/>
      <dgm:t>
        <a:bodyPr/>
        <a:lstStyle/>
        <a:p>
          <a:endParaRPr lang="en-IN"/>
        </a:p>
      </dgm:t>
    </dgm:pt>
    <dgm:pt modelId="{AF26E660-E474-4666-902F-12BBD9F65251}" type="sibTrans" cxnId="{3B5B6605-DEDB-4A09-BE00-230BDA40154B}">
      <dgm:prSet/>
      <dgm:spPr/>
      <dgm:t>
        <a:bodyPr/>
        <a:lstStyle/>
        <a:p>
          <a:endParaRPr lang="en-IN"/>
        </a:p>
      </dgm:t>
    </dgm:pt>
    <dgm:pt modelId="{7962DC76-8705-4859-87BD-7355ACAF3F57}">
      <dgm:prSet phldrT="[Text]"/>
      <dgm:spPr/>
      <dgm:t>
        <a:bodyPr/>
        <a:lstStyle/>
        <a:p>
          <a:r>
            <a:rPr lang="en-IN" dirty="0"/>
            <a:t>If no Segment qualifies then give this point a new Segment number</a:t>
          </a:r>
        </a:p>
      </dgm:t>
    </dgm:pt>
    <dgm:pt modelId="{6695CA28-F2D6-4FBF-B486-E5AF647B36EC}" type="parTrans" cxnId="{286B5FD4-6CFD-4E30-878A-C53E66622942}">
      <dgm:prSet/>
      <dgm:spPr/>
      <dgm:t>
        <a:bodyPr/>
        <a:lstStyle/>
        <a:p>
          <a:endParaRPr lang="en-IN"/>
        </a:p>
      </dgm:t>
    </dgm:pt>
    <dgm:pt modelId="{430D599A-D8A3-4653-ACD9-6C516697B9EB}" type="sibTrans" cxnId="{286B5FD4-6CFD-4E30-878A-C53E66622942}">
      <dgm:prSet/>
      <dgm:spPr/>
      <dgm:t>
        <a:bodyPr/>
        <a:lstStyle/>
        <a:p>
          <a:endParaRPr lang="en-IN"/>
        </a:p>
      </dgm:t>
    </dgm:pt>
    <dgm:pt modelId="{5DCB5D38-848B-4F51-894C-04E0BB7A5266}">
      <dgm:prSet phldrT="[Text]"/>
      <dgm:spPr/>
      <dgm:t>
        <a:bodyPr/>
        <a:lstStyle/>
        <a:p>
          <a:r>
            <a:rPr lang="en-IN" dirty="0"/>
            <a:t>Find Segment with which Speed &lt; SpeedCutoff1 and Minimum Distance</a:t>
          </a:r>
        </a:p>
      </dgm:t>
    </dgm:pt>
    <dgm:pt modelId="{E6B457B2-4605-4345-8C04-F7DD7796E86F}" type="parTrans" cxnId="{0A5EF6CA-6291-4A8B-8143-E81C785C9ADD}">
      <dgm:prSet/>
      <dgm:spPr/>
      <dgm:t>
        <a:bodyPr/>
        <a:lstStyle/>
        <a:p>
          <a:endParaRPr lang="en-IN"/>
        </a:p>
      </dgm:t>
    </dgm:pt>
    <dgm:pt modelId="{A818D50F-BAFB-4486-B109-9C61CB8DF079}" type="sibTrans" cxnId="{0A5EF6CA-6291-4A8B-8143-E81C785C9ADD}">
      <dgm:prSet/>
      <dgm:spPr/>
      <dgm:t>
        <a:bodyPr/>
        <a:lstStyle/>
        <a:p>
          <a:endParaRPr lang="en-IN"/>
        </a:p>
      </dgm:t>
    </dgm:pt>
    <dgm:pt modelId="{F867B60D-0087-428F-86BE-B54E2310F780}">
      <dgm:prSet phldrT="[Text]"/>
      <dgm:spPr/>
      <dgm:t>
        <a:bodyPr/>
        <a:lstStyle/>
        <a:p>
          <a:r>
            <a:rPr lang="en-IN" dirty="0"/>
            <a:t>If Time Difference is 0, </a:t>
          </a:r>
        </a:p>
      </dgm:t>
    </dgm:pt>
    <dgm:pt modelId="{50B58ECA-9F4C-4930-86CF-F61E79370A6F}" type="parTrans" cxnId="{6307DDF3-FB26-4C4B-BBA1-B9D38BADACBE}">
      <dgm:prSet/>
      <dgm:spPr/>
      <dgm:t>
        <a:bodyPr/>
        <a:lstStyle/>
        <a:p>
          <a:endParaRPr lang="en-IN"/>
        </a:p>
      </dgm:t>
    </dgm:pt>
    <dgm:pt modelId="{A0F91F7B-86C1-4C96-940D-8777896E0B8C}" type="sibTrans" cxnId="{6307DDF3-FB26-4C4B-BBA1-B9D38BADACBE}">
      <dgm:prSet/>
      <dgm:spPr/>
      <dgm:t>
        <a:bodyPr/>
        <a:lstStyle/>
        <a:p>
          <a:endParaRPr lang="en-IN"/>
        </a:p>
      </dgm:t>
    </dgm:pt>
    <dgm:pt modelId="{271D5E2D-5EBC-49F9-BCBC-00D1A1B2CF3C}">
      <dgm:prSet phldrT="[Text]"/>
      <dgm:spPr/>
      <dgm:t>
        <a:bodyPr/>
        <a:lstStyle/>
        <a:p>
          <a:r>
            <a:rPr lang="en-IN" dirty="0"/>
            <a:t>Distance &lt; 35 Meter – Then remove as Stationary Point</a:t>
          </a:r>
        </a:p>
      </dgm:t>
    </dgm:pt>
    <dgm:pt modelId="{76484F78-5F34-40CA-BAB0-DDE42FA8D030}" type="parTrans" cxnId="{3FD92891-47DF-488C-88D2-C99DD2DAE9A1}">
      <dgm:prSet/>
      <dgm:spPr/>
      <dgm:t>
        <a:bodyPr/>
        <a:lstStyle/>
        <a:p>
          <a:endParaRPr lang="en-IN"/>
        </a:p>
      </dgm:t>
    </dgm:pt>
    <dgm:pt modelId="{FDFC27B7-6DE9-4884-94CB-D62BFF6934E4}" type="sibTrans" cxnId="{3FD92891-47DF-488C-88D2-C99DD2DAE9A1}">
      <dgm:prSet/>
      <dgm:spPr/>
      <dgm:t>
        <a:bodyPr/>
        <a:lstStyle/>
        <a:p>
          <a:endParaRPr lang="en-IN"/>
        </a:p>
      </dgm:t>
    </dgm:pt>
    <dgm:pt modelId="{791107E3-0F65-4540-97B9-0A5544BD04CB}">
      <dgm:prSet phldrT="[Text]"/>
      <dgm:spPr/>
      <dgm:t>
        <a:bodyPr/>
        <a:lstStyle/>
        <a:p>
          <a:r>
            <a:rPr lang="en-IN" dirty="0"/>
            <a:t>Distance &gt; 35 Meter then different Segment</a:t>
          </a:r>
        </a:p>
      </dgm:t>
    </dgm:pt>
    <dgm:pt modelId="{33974CC8-A0E0-45C9-B009-88900018CF64}" type="parTrans" cxnId="{0CAE604A-3E75-4144-ABB4-0ED70E2341FE}">
      <dgm:prSet/>
      <dgm:spPr/>
      <dgm:t>
        <a:bodyPr/>
        <a:lstStyle/>
        <a:p>
          <a:endParaRPr lang="en-IN"/>
        </a:p>
      </dgm:t>
    </dgm:pt>
    <dgm:pt modelId="{434159D5-B096-44D9-9DB4-CB17AC71592F}" type="sibTrans" cxnId="{0CAE604A-3E75-4144-ABB4-0ED70E2341FE}">
      <dgm:prSet/>
      <dgm:spPr/>
      <dgm:t>
        <a:bodyPr/>
        <a:lstStyle/>
        <a:p>
          <a:endParaRPr lang="en-IN"/>
        </a:p>
      </dgm:t>
    </dgm:pt>
    <dgm:pt modelId="{9EAE875F-C855-4491-A80E-05D9A7A940E7}">
      <dgm:prSet phldrT="[Text]"/>
      <dgm:spPr/>
      <dgm:t>
        <a:bodyPr/>
        <a:lstStyle/>
        <a:p>
          <a:r>
            <a:rPr lang="en-IN" dirty="0"/>
            <a:t>Speed w.r.t previous point &gt; SpeedCutoff2 (120KM) – Separate Segment</a:t>
          </a:r>
        </a:p>
      </dgm:t>
    </dgm:pt>
    <dgm:pt modelId="{B624F94F-4985-42D8-AEEE-64B9BB90D66C}" type="parTrans" cxnId="{7666933C-1679-453E-B77A-3C576D3E43F2}">
      <dgm:prSet/>
      <dgm:spPr/>
      <dgm:t>
        <a:bodyPr/>
        <a:lstStyle/>
        <a:p>
          <a:endParaRPr lang="en-IN"/>
        </a:p>
      </dgm:t>
    </dgm:pt>
    <dgm:pt modelId="{EB1B9D60-9A89-4F97-B33C-441AF4133186}" type="sibTrans" cxnId="{7666933C-1679-453E-B77A-3C576D3E43F2}">
      <dgm:prSet/>
      <dgm:spPr/>
      <dgm:t>
        <a:bodyPr/>
        <a:lstStyle/>
        <a:p>
          <a:endParaRPr lang="en-IN"/>
        </a:p>
      </dgm:t>
    </dgm:pt>
    <dgm:pt modelId="{2CAB0707-EC7D-4A0B-AEB8-084D49AEDFCF}">
      <dgm:prSet phldrT="[Text]"/>
      <dgm:spPr/>
      <dgm:t>
        <a:bodyPr/>
        <a:lstStyle/>
        <a:p>
          <a:r>
            <a:rPr lang="en-IN" dirty="0"/>
            <a:t>Speed &gt; SpeedCutoff1 (119 KM) and &lt; SpeedCutoff2 then distance &gt; </a:t>
          </a:r>
          <a:r>
            <a:rPr lang="en-IN" dirty="0" err="1"/>
            <a:t>distCutoff</a:t>
          </a:r>
          <a:r>
            <a:rPr lang="en-IN" dirty="0"/>
            <a:t> (0.035KM) then Separate Segment</a:t>
          </a:r>
        </a:p>
      </dgm:t>
    </dgm:pt>
    <dgm:pt modelId="{DBDCB515-D510-4353-94BD-D07B9773B9F1}" type="parTrans" cxnId="{30859562-4203-4030-9305-D834429E3143}">
      <dgm:prSet/>
      <dgm:spPr/>
      <dgm:t>
        <a:bodyPr/>
        <a:lstStyle/>
        <a:p>
          <a:endParaRPr lang="en-IN"/>
        </a:p>
      </dgm:t>
    </dgm:pt>
    <dgm:pt modelId="{C2EC9259-54D7-4B59-B109-B5254B71CB58}" type="sibTrans" cxnId="{30859562-4203-4030-9305-D834429E3143}">
      <dgm:prSet/>
      <dgm:spPr/>
      <dgm:t>
        <a:bodyPr/>
        <a:lstStyle/>
        <a:p>
          <a:endParaRPr lang="en-IN"/>
        </a:p>
      </dgm:t>
    </dgm:pt>
    <dgm:pt modelId="{BC3BB4A3-E29C-4D22-B907-3E8826B4BE68}" type="pres">
      <dgm:prSet presAssocID="{5DE58DB6-A469-433D-8E86-DD19324933EA}" presName="linearFlow" presStyleCnt="0">
        <dgm:presLayoutVars>
          <dgm:dir/>
          <dgm:animLvl val="lvl"/>
          <dgm:resizeHandles val="exact"/>
        </dgm:presLayoutVars>
      </dgm:prSet>
      <dgm:spPr/>
    </dgm:pt>
    <dgm:pt modelId="{AC06416B-A99A-4144-9191-CBBC1305CD5E}" type="pres">
      <dgm:prSet presAssocID="{B4AE77A4-DDD1-4F63-94F0-F585F674EF41}" presName="composite" presStyleCnt="0"/>
      <dgm:spPr/>
    </dgm:pt>
    <dgm:pt modelId="{14F0147A-FC9E-4FA3-B40D-3E9CBDAD480E}" type="pres">
      <dgm:prSet presAssocID="{B4AE77A4-DDD1-4F63-94F0-F585F674EF41}" presName="parTx" presStyleLbl="node1" presStyleIdx="0" presStyleCnt="2">
        <dgm:presLayoutVars>
          <dgm:chMax val="0"/>
          <dgm:chPref val="0"/>
          <dgm:bulletEnabled val="1"/>
        </dgm:presLayoutVars>
      </dgm:prSet>
      <dgm:spPr/>
    </dgm:pt>
    <dgm:pt modelId="{B3A26696-F358-402A-A32E-5B55632AEA76}" type="pres">
      <dgm:prSet presAssocID="{B4AE77A4-DDD1-4F63-94F0-F585F674EF41}" presName="parSh" presStyleLbl="node1" presStyleIdx="0" presStyleCnt="2"/>
      <dgm:spPr/>
    </dgm:pt>
    <dgm:pt modelId="{79363D58-2539-442D-BA7B-8A980F88F629}" type="pres">
      <dgm:prSet presAssocID="{B4AE77A4-DDD1-4F63-94F0-F585F674EF41}" presName="desTx" presStyleLbl="fgAcc1" presStyleIdx="0" presStyleCnt="2">
        <dgm:presLayoutVars>
          <dgm:bulletEnabled val="1"/>
        </dgm:presLayoutVars>
      </dgm:prSet>
      <dgm:spPr/>
    </dgm:pt>
    <dgm:pt modelId="{BD8036B1-6AFB-47B7-B7C3-27F3CE330A79}" type="pres">
      <dgm:prSet presAssocID="{CFFAF50C-0906-4FD0-A94F-07A9B67A86C4}" presName="sibTrans" presStyleLbl="sibTrans2D1" presStyleIdx="0" presStyleCnt="1"/>
      <dgm:spPr/>
    </dgm:pt>
    <dgm:pt modelId="{C0D24706-F4CE-45BE-BBB4-1D1DFEF0A269}" type="pres">
      <dgm:prSet presAssocID="{CFFAF50C-0906-4FD0-A94F-07A9B67A86C4}" presName="connTx" presStyleLbl="sibTrans2D1" presStyleIdx="0" presStyleCnt="1"/>
      <dgm:spPr/>
    </dgm:pt>
    <dgm:pt modelId="{D6F605F7-F931-42E7-B5FF-79D2AB62B5D6}" type="pres">
      <dgm:prSet presAssocID="{328D7A74-A85D-4ACF-BDEF-E7C905D0A66C}" presName="composite" presStyleCnt="0"/>
      <dgm:spPr/>
    </dgm:pt>
    <dgm:pt modelId="{810DB8D7-1E0B-4806-95C0-30F25637246A}" type="pres">
      <dgm:prSet presAssocID="{328D7A74-A85D-4ACF-BDEF-E7C905D0A66C}" presName="parTx" presStyleLbl="node1" presStyleIdx="0" presStyleCnt="2">
        <dgm:presLayoutVars>
          <dgm:chMax val="0"/>
          <dgm:chPref val="0"/>
          <dgm:bulletEnabled val="1"/>
        </dgm:presLayoutVars>
      </dgm:prSet>
      <dgm:spPr/>
    </dgm:pt>
    <dgm:pt modelId="{1FE8E859-542D-4303-883D-2A16C41EE2D1}" type="pres">
      <dgm:prSet presAssocID="{328D7A74-A85D-4ACF-BDEF-E7C905D0A66C}" presName="parSh" presStyleLbl="node1" presStyleIdx="1" presStyleCnt="2"/>
      <dgm:spPr/>
    </dgm:pt>
    <dgm:pt modelId="{F010F942-2144-4F2D-AF3A-2FBE1487E702}" type="pres">
      <dgm:prSet presAssocID="{328D7A74-A85D-4ACF-BDEF-E7C905D0A66C}" presName="desTx" presStyleLbl="fgAcc1" presStyleIdx="1" presStyleCnt="2">
        <dgm:presLayoutVars>
          <dgm:bulletEnabled val="1"/>
        </dgm:presLayoutVars>
      </dgm:prSet>
      <dgm:spPr/>
    </dgm:pt>
  </dgm:ptLst>
  <dgm:cxnLst>
    <dgm:cxn modelId="{3B5B6605-DEDB-4A09-BE00-230BDA40154B}" srcId="{328D7A74-A85D-4ACF-BDEF-E7C905D0A66C}" destId="{976F338B-7360-4819-81B2-E9E08714C1C9}" srcOrd="0" destOrd="0" parTransId="{E0343870-10CF-495F-A9F1-D180684919D3}" sibTransId="{AF26E660-E474-4666-902F-12BBD9F65251}"/>
    <dgm:cxn modelId="{38425D0D-77C1-41E8-953A-034AEE2F3E9B}" type="presOf" srcId="{B4AE77A4-DDD1-4F63-94F0-F585F674EF41}" destId="{14F0147A-FC9E-4FA3-B40D-3E9CBDAD480E}" srcOrd="0" destOrd="0" presId="urn:microsoft.com/office/officeart/2005/8/layout/process3"/>
    <dgm:cxn modelId="{B44FE51E-DC34-4664-89A2-C7F6D94628A5}" type="presOf" srcId="{9EAE875F-C855-4491-A80E-05D9A7A940E7}" destId="{79363D58-2539-442D-BA7B-8A980F88F629}" srcOrd="0" destOrd="3" presId="urn:microsoft.com/office/officeart/2005/8/layout/process3"/>
    <dgm:cxn modelId="{FFC48821-1E7C-487E-8DA3-B30C61804E7B}" type="presOf" srcId="{271D5E2D-5EBC-49F9-BCBC-00D1A1B2CF3C}" destId="{79363D58-2539-442D-BA7B-8A980F88F629}" srcOrd="0" destOrd="1" presId="urn:microsoft.com/office/officeart/2005/8/layout/process3"/>
    <dgm:cxn modelId="{7666933C-1679-453E-B77A-3C576D3E43F2}" srcId="{B4AE77A4-DDD1-4F63-94F0-F585F674EF41}" destId="{9EAE875F-C855-4491-A80E-05D9A7A940E7}" srcOrd="1" destOrd="0" parTransId="{B624F94F-4985-42D8-AEEE-64B9BB90D66C}" sibTransId="{EB1B9D60-9A89-4F97-B33C-441AF4133186}"/>
    <dgm:cxn modelId="{30859562-4203-4030-9305-D834429E3143}" srcId="{B4AE77A4-DDD1-4F63-94F0-F585F674EF41}" destId="{2CAB0707-EC7D-4A0B-AEB8-084D49AEDFCF}" srcOrd="2" destOrd="0" parTransId="{DBDCB515-D510-4353-94BD-D07B9773B9F1}" sibTransId="{C2EC9259-54D7-4B59-B109-B5254B71CB58}"/>
    <dgm:cxn modelId="{82FC1B66-9CB2-4A12-A2A4-40B294223F95}" type="presOf" srcId="{CFFAF50C-0906-4FD0-A94F-07A9B67A86C4}" destId="{BD8036B1-6AFB-47B7-B7C3-27F3CE330A79}" srcOrd="0" destOrd="0" presId="urn:microsoft.com/office/officeart/2005/8/layout/process3"/>
    <dgm:cxn modelId="{3156F247-D1F4-434D-96C6-5178162B8A68}" type="presOf" srcId="{976F338B-7360-4819-81B2-E9E08714C1C9}" destId="{F010F942-2144-4F2D-AF3A-2FBE1487E702}" srcOrd="0" destOrd="0" presId="urn:microsoft.com/office/officeart/2005/8/layout/process3"/>
    <dgm:cxn modelId="{0CAE604A-3E75-4144-ABB4-0ED70E2341FE}" srcId="{F867B60D-0087-428F-86BE-B54E2310F780}" destId="{791107E3-0F65-4540-97B9-0A5544BD04CB}" srcOrd="1" destOrd="0" parTransId="{33974CC8-A0E0-45C9-B009-88900018CF64}" sibTransId="{434159D5-B096-44D9-9DB4-CB17AC71592F}"/>
    <dgm:cxn modelId="{A835AE71-73F3-485C-BED5-C6098DB0CC8F}" type="presOf" srcId="{CFFAF50C-0906-4FD0-A94F-07A9B67A86C4}" destId="{C0D24706-F4CE-45BE-BBB4-1D1DFEF0A269}" srcOrd="1" destOrd="0" presId="urn:microsoft.com/office/officeart/2005/8/layout/process3"/>
    <dgm:cxn modelId="{11D82353-78D3-4787-AB97-677AAA6C70CB}" type="presOf" srcId="{791107E3-0F65-4540-97B9-0A5544BD04CB}" destId="{79363D58-2539-442D-BA7B-8A980F88F629}" srcOrd="0" destOrd="2" presId="urn:microsoft.com/office/officeart/2005/8/layout/process3"/>
    <dgm:cxn modelId="{5F5FDB75-044C-40A4-A0A6-F61565BC3589}" type="presOf" srcId="{328D7A74-A85D-4ACF-BDEF-E7C905D0A66C}" destId="{810DB8D7-1E0B-4806-95C0-30F25637246A}" srcOrd="0" destOrd="0" presId="urn:microsoft.com/office/officeart/2005/8/layout/process3"/>
    <dgm:cxn modelId="{DA4A887D-E051-4B76-9BD1-AA45E4C5613D}" type="presOf" srcId="{2CAB0707-EC7D-4A0B-AEB8-084D49AEDFCF}" destId="{79363D58-2539-442D-BA7B-8A980F88F629}" srcOrd="0" destOrd="4" presId="urn:microsoft.com/office/officeart/2005/8/layout/process3"/>
    <dgm:cxn modelId="{3A06548F-BB1C-4D29-96AE-D361F2D02172}" type="presOf" srcId="{F867B60D-0087-428F-86BE-B54E2310F780}" destId="{79363D58-2539-442D-BA7B-8A980F88F629}" srcOrd="0" destOrd="0" presId="urn:microsoft.com/office/officeart/2005/8/layout/process3"/>
    <dgm:cxn modelId="{3FD92891-47DF-488C-88D2-C99DD2DAE9A1}" srcId="{F867B60D-0087-428F-86BE-B54E2310F780}" destId="{271D5E2D-5EBC-49F9-BCBC-00D1A1B2CF3C}" srcOrd="0" destOrd="0" parTransId="{76484F78-5F34-40CA-BAB0-DDE42FA8D030}" sibTransId="{FDFC27B7-6DE9-4884-94CB-D62BFF6934E4}"/>
    <dgm:cxn modelId="{9623D691-A008-4CAB-BA14-154C870ADB9B}" type="presOf" srcId="{5DE58DB6-A469-433D-8E86-DD19324933EA}" destId="{BC3BB4A3-E29C-4D22-B907-3E8826B4BE68}" srcOrd="0" destOrd="0" presId="urn:microsoft.com/office/officeart/2005/8/layout/process3"/>
    <dgm:cxn modelId="{654CB6AC-103C-4A7E-B9EA-5E32604590BC}" srcId="{5DE58DB6-A469-433D-8E86-DD19324933EA}" destId="{B4AE77A4-DDD1-4F63-94F0-F585F674EF41}" srcOrd="0" destOrd="0" parTransId="{7430CA49-8138-4609-9C1F-E4B31877A189}" sibTransId="{CFFAF50C-0906-4FD0-A94F-07A9B67A86C4}"/>
    <dgm:cxn modelId="{113EE2AC-5379-4123-891F-16CD5AD8BA54}" type="presOf" srcId="{328D7A74-A85D-4ACF-BDEF-E7C905D0A66C}" destId="{1FE8E859-542D-4303-883D-2A16C41EE2D1}" srcOrd="1" destOrd="0" presId="urn:microsoft.com/office/officeart/2005/8/layout/process3"/>
    <dgm:cxn modelId="{80ACF3BB-F7C3-4CBF-A16F-EB4046FA9EDB}" type="presOf" srcId="{B4AE77A4-DDD1-4F63-94F0-F585F674EF41}" destId="{B3A26696-F358-402A-A32E-5B55632AEA76}" srcOrd="1" destOrd="0" presId="urn:microsoft.com/office/officeart/2005/8/layout/process3"/>
    <dgm:cxn modelId="{A00956C8-2677-4F58-9182-1975A3BE3493}" srcId="{5DE58DB6-A469-433D-8E86-DD19324933EA}" destId="{328D7A74-A85D-4ACF-BDEF-E7C905D0A66C}" srcOrd="1" destOrd="0" parTransId="{58792D54-6101-4371-A66E-09656C0BACFC}" sibTransId="{9B0CA4B4-7B3A-4EAE-A0C4-D535A99D107A}"/>
    <dgm:cxn modelId="{0A5EF6CA-6291-4A8B-8143-E81C785C9ADD}" srcId="{328D7A74-A85D-4ACF-BDEF-E7C905D0A66C}" destId="{5DCB5D38-848B-4F51-894C-04E0BB7A5266}" srcOrd="1" destOrd="0" parTransId="{E6B457B2-4605-4345-8C04-F7DD7796E86F}" sibTransId="{A818D50F-BAFB-4486-B109-9C61CB8DF079}"/>
    <dgm:cxn modelId="{1DC2E4D1-1D1A-4E77-98A7-56D26A3C9F15}" type="presOf" srcId="{5DCB5D38-848B-4F51-894C-04E0BB7A5266}" destId="{F010F942-2144-4F2D-AF3A-2FBE1487E702}" srcOrd="0" destOrd="1" presId="urn:microsoft.com/office/officeart/2005/8/layout/process3"/>
    <dgm:cxn modelId="{286B5FD4-6CFD-4E30-878A-C53E66622942}" srcId="{328D7A74-A85D-4ACF-BDEF-E7C905D0A66C}" destId="{7962DC76-8705-4859-87BD-7355ACAF3F57}" srcOrd="2" destOrd="0" parTransId="{6695CA28-F2D6-4FBF-B486-E5AF647B36EC}" sibTransId="{430D599A-D8A3-4653-ACD9-6C516697B9EB}"/>
    <dgm:cxn modelId="{14C617E3-D1FC-4793-B4BC-0400D2157872}" type="presOf" srcId="{7962DC76-8705-4859-87BD-7355ACAF3F57}" destId="{F010F942-2144-4F2D-AF3A-2FBE1487E702}" srcOrd="0" destOrd="2" presId="urn:microsoft.com/office/officeart/2005/8/layout/process3"/>
    <dgm:cxn modelId="{6307DDF3-FB26-4C4B-BBA1-B9D38BADACBE}" srcId="{B4AE77A4-DDD1-4F63-94F0-F585F674EF41}" destId="{F867B60D-0087-428F-86BE-B54E2310F780}" srcOrd="0" destOrd="0" parTransId="{50B58ECA-9F4C-4930-86CF-F61E79370A6F}" sibTransId="{A0F91F7B-86C1-4C96-940D-8777896E0B8C}"/>
    <dgm:cxn modelId="{DFEF9D14-15E2-4ACB-A671-A6DD86188FD3}" type="presParOf" srcId="{BC3BB4A3-E29C-4D22-B907-3E8826B4BE68}" destId="{AC06416B-A99A-4144-9191-CBBC1305CD5E}" srcOrd="0" destOrd="0" presId="urn:microsoft.com/office/officeart/2005/8/layout/process3"/>
    <dgm:cxn modelId="{C283BD03-9336-41BA-82FC-0D23EABED97F}" type="presParOf" srcId="{AC06416B-A99A-4144-9191-CBBC1305CD5E}" destId="{14F0147A-FC9E-4FA3-B40D-3E9CBDAD480E}" srcOrd="0" destOrd="0" presId="urn:microsoft.com/office/officeart/2005/8/layout/process3"/>
    <dgm:cxn modelId="{23010BEE-D08F-4063-9036-30C723E5697C}" type="presParOf" srcId="{AC06416B-A99A-4144-9191-CBBC1305CD5E}" destId="{B3A26696-F358-402A-A32E-5B55632AEA76}" srcOrd="1" destOrd="0" presId="urn:microsoft.com/office/officeart/2005/8/layout/process3"/>
    <dgm:cxn modelId="{A5AD589D-854E-4175-A09E-BE5B2BADE266}" type="presParOf" srcId="{AC06416B-A99A-4144-9191-CBBC1305CD5E}" destId="{79363D58-2539-442D-BA7B-8A980F88F629}" srcOrd="2" destOrd="0" presId="urn:microsoft.com/office/officeart/2005/8/layout/process3"/>
    <dgm:cxn modelId="{B606A67A-1FE4-42DE-BE40-45092B1A36DC}" type="presParOf" srcId="{BC3BB4A3-E29C-4D22-B907-3E8826B4BE68}" destId="{BD8036B1-6AFB-47B7-B7C3-27F3CE330A79}" srcOrd="1" destOrd="0" presId="urn:microsoft.com/office/officeart/2005/8/layout/process3"/>
    <dgm:cxn modelId="{28054B7A-ED0F-48D1-8D8F-E25E899F2AFE}" type="presParOf" srcId="{BD8036B1-6AFB-47B7-B7C3-27F3CE330A79}" destId="{C0D24706-F4CE-45BE-BBB4-1D1DFEF0A269}" srcOrd="0" destOrd="0" presId="urn:microsoft.com/office/officeart/2005/8/layout/process3"/>
    <dgm:cxn modelId="{EDA160BE-4539-42DF-9CB1-8995DA63A83D}" type="presParOf" srcId="{BC3BB4A3-E29C-4D22-B907-3E8826B4BE68}" destId="{D6F605F7-F931-42E7-B5FF-79D2AB62B5D6}" srcOrd="2" destOrd="0" presId="urn:microsoft.com/office/officeart/2005/8/layout/process3"/>
    <dgm:cxn modelId="{94CA158A-2BF3-407E-A3D0-DA7BDF443763}" type="presParOf" srcId="{D6F605F7-F931-42E7-B5FF-79D2AB62B5D6}" destId="{810DB8D7-1E0B-4806-95C0-30F25637246A}" srcOrd="0" destOrd="0" presId="urn:microsoft.com/office/officeart/2005/8/layout/process3"/>
    <dgm:cxn modelId="{E40B6EDB-4AAE-4B7D-BCD1-3E9C4E858653}" type="presParOf" srcId="{D6F605F7-F931-42E7-B5FF-79D2AB62B5D6}" destId="{1FE8E859-542D-4303-883D-2A16C41EE2D1}" srcOrd="1" destOrd="0" presId="urn:microsoft.com/office/officeart/2005/8/layout/process3"/>
    <dgm:cxn modelId="{94F26BB8-6DF9-46CB-9AE9-A6BC03D740A1}" type="presParOf" srcId="{D6F605F7-F931-42E7-B5FF-79D2AB62B5D6}" destId="{F010F942-2144-4F2D-AF3A-2FBE1487E702}"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A3334F-C9F8-4621-B2F4-94B6147800FB}">
      <dsp:nvSpPr>
        <dsp:cNvPr id="0" name=""/>
        <dsp:cNvSpPr/>
      </dsp:nvSpPr>
      <dsp:spPr>
        <a:xfrm>
          <a:off x="4042" y="238876"/>
          <a:ext cx="1838086" cy="51839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IN" sz="1200" kern="1200" dirty="0"/>
            <a:t>Duplicate Removal</a:t>
          </a:r>
        </a:p>
      </dsp:txBody>
      <dsp:txXfrm>
        <a:off x="4042" y="238876"/>
        <a:ext cx="1838086" cy="345600"/>
      </dsp:txXfrm>
    </dsp:sp>
    <dsp:sp modelId="{1E01A481-A54F-4F62-819C-199FAA4FDCB3}">
      <dsp:nvSpPr>
        <dsp:cNvPr id="0" name=""/>
        <dsp:cNvSpPr/>
      </dsp:nvSpPr>
      <dsp:spPr>
        <a:xfrm>
          <a:off x="380518" y="584476"/>
          <a:ext cx="1838086" cy="15093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IN" sz="1200" kern="1200" dirty="0"/>
            <a:t>Same </a:t>
          </a:r>
          <a:r>
            <a:rPr lang="en-IN" sz="1200" kern="1200" dirty="0" err="1"/>
            <a:t>LatLong</a:t>
          </a:r>
          <a:r>
            <a:rPr lang="en-IN" sz="1200" kern="1200" dirty="0"/>
            <a:t> and Datetime</a:t>
          </a:r>
        </a:p>
      </dsp:txBody>
      <dsp:txXfrm>
        <a:off x="424724" y="628682"/>
        <a:ext cx="1749674" cy="1420888"/>
      </dsp:txXfrm>
    </dsp:sp>
    <dsp:sp modelId="{FB76AD29-1668-42E4-9595-15A5BE45B8B1}">
      <dsp:nvSpPr>
        <dsp:cNvPr id="0" name=""/>
        <dsp:cNvSpPr/>
      </dsp:nvSpPr>
      <dsp:spPr>
        <a:xfrm rot="21572973">
          <a:off x="2120767" y="171123"/>
          <a:ext cx="590750"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kern="1200"/>
        </a:p>
      </dsp:txBody>
      <dsp:txXfrm>
        <a:off x="2120769" y="263189"/>
        <a:ext cx="453461" cy="274578"/>
      </dsp:txXfrm>
    </dsp:sp>
    <dsp:sp modelId="{6BD36CF2-77BE-4EF8-81ED-C010D73162DC}">
      <dsp:nvSpPr>
        <dsp:cNvPr id="0" name=""/>
        <dsp:cNvSpPr/>
      </dsp:nvSpPr>
      <dsp:spPr>
        <a:xfrm>
          <a:off x="2956718" y="215663"/>
          <a:ext cx="1838086" cy="51839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IN" sz="1200" kern="1200" dirty="0"/>
            <a:t>Remove Stationary Points </a:t>
          </a:r>
        </a:p>
      </dsp:txBody>
      <dsp:txXfrm>
        <a:off x="2956718" y="215663"/>
        <a:ext cx="1838086" cy="345600"/>
      </dsp:txXfrm>
    </dsp:sp>
    <dsp:sp modelId="{BB3B7018-1B84-4FD2-9D1C-46FF874790D0}">
      <dsp:nvSpPr>
        <dsp:cNvPr id="0" name=""/>
        <dsp:cNvSpPr/>
      </dsp:nvSpPr>
      <dsp:spPr>
        <a:xfrm>
          <a:off x="3333194" y="584476"/>
          <a:ext cx="1838086" cy="15093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IN" sz="1200" kern="1200" dirty="0"/>
            <a:t>Improves RDP in future</a:t>
          </a:r>
        </a:p>
        <a:p>
          <a:pPr marL="114300" lvl="1" indent="-114300" algn="l" defTabSz="533400">
            <a:lnSpc>
              <a:spcPct val="90000"/>
            </a:lnSpc>
            <a:spcBef>
              <a:spcPct val="0"/>
            </a:spcBef>
            <a:spcAft>
              <a:spcPct val="15000"/>
            </a:spcAft>
            <a:buChar char="•"/>
          </a:pPr>
          <a:r>
            <a:rPr lang="en-IN" sz="1200" kern="1200" dirty="0"/>
            <a:t>Intermediate points with displacement &lt; 35 Meters</a:t>
          </a:r>
        </a:p>
      </dsp:txBody>
      <dsp:txXfrm>
        <a:off x="3377400" y="628682"/>
        <a:ext cx="1749674" cy="1420888"/>
      </dsp:txXfrm>
    </dsp:sp>
    <dsp:sp modelId="{0F6FEBD4-3B28-40E0-8AD4-F9C2707BE521}">
      <dsp:nvSpPr>
        <dsp:cNvPr id="0" name=""/>
        <dsp:cNvSpPr/>
      </dsp:nvSpPr>
      <dsp:spPr>
        <a:xfrm rot="27027">
          <a:off x="5073443" y="171386"/>
          <a:ext cx="590750" cy="457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kern="1200"/>
        </a:p>
      </dsp:txBody>
      <dsp:txXfrm>
        <a:off x="5073445" y="262372"/>
        <a:ext cx="453461" cy="274578"/>
      </dsp:txXfrm>
    </dsp:sp>
    <dsp:sp modelId="{41542764-B52C-4EC4-93B1-E45355995D1F}">
      <dsp:nvSpPr>
        <dsp:cNvPr id="0" name=""/>
        <dsp:cNvSpPr/>
      </dsp:nvSpPr>
      <dsp:spPr>
        <a:xfrm>
          <a:off x="5909394" y="238876"/>
          <a:ext cx="1838086" cy="51839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IN" sz="1200" kern="1200" dirty="0"/>
            <a:t>Identify  &amp; Split Trips</a:t>
          </a:r>
        </a:p>
      </dsp:txBody>
      <dsp:txXfrm>
        <a:off x="5909394" y="238876"/>
        <a:ext cx="1838086" cy="345600"/>
      </dsp:txXfrm>
    </dsp:sp>
    <dsp:sp modelId="{84CE2A68-9A81-4E78-B858-ACD709CA1996}">
      <dsp:nvSpPr>
        <dsp:cNvPr id="0" name=""/>
        <dsp:cNvSpPr/>
      </dsp:nvSpPr>
      <dsp:spPr>
        <a:xfrm>
          <a:off x="6285870" y="584476"/>
          <a:ext cx="1838086" cy="15093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IN" sz="1200" kern="1200" dirty="0"/>
            <a:t>If Ignition On/Off Available use it</a:t>
          </a:r>
        </a:p>
        <a:p>
          <a:pPr marL="114300" lvl="1" indent="-114300" algn="l" defTabSz="533400">
            <a:lnSpc>
              <a:spcPct val="90000"/>
            </a:lnSpc>
            <a:spcBef>
              <a:spcPct val="0"/>
            </a:spcBef>
            <a:spcAft>
              <a:spcPct val="15000"/>
            </a:spcAft>
            <a:buChar char="•"/>
          </a:pPr>
          <a:r>
            <a:rPr lang="en-IN" sz="1200" kern="1200" dirty="0"/>
            <a:t>Stopped for more than 360 Minutes or more than 30 less than 360 but speed &lt; 5 Km/hr</a:t>
          </a:r>
        </a:p>
        <a:p>
          <a:pPr marL="114300" lvl="1" indent="-114300" algn="l" defTabSz="533400">
            <a:lnSpc>
              <a:spcPct val="90000"/>
            </a:lnSpc>
            <a:spcBef>
              <a:spcPct val="0"/>
            </a:spcBef>
            <a:spcAft>
              <a:spcPct val="15000"/>
            </a:spcAft>
            <a:buChar char="•"/>
          </a:pPr>
          <a:r>
            <a:rPr lang="en-IN" sz="1200" kern="1200" dirty="0"/>
            <a:t>Ignore Parked Points</a:t>
          </a:r>
        </a:p>
      </dsp:txBody>
      <dsp:txXfrm>
        <a:off x="6330076" y="628682"/>
        <a:ext cx="1749674" cy="14208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34F21-7A1D-4F9E-9AEE-6E089589334D}">
      <dsp:nvSpPr>
        <dsp:cNvPr id="0" name=""/>
        <dsp:cNvSpPr/>
      </dsp:nvSpPr>
      <dsp:spPr>
        <a:xfrm>
          <a:off x="2646" y="29353"/>
          <a:ext cx="2271686" cy="127903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IN" sz="1600" kern="1200" dirty="0"/>
            <a:t>Split </a:t>
          </a:r>
          <a:r>
            <a:rPr lang="en-IN" sz="1600" kern="1200" dirty="0" err="1"/>
            <a:t>GeoSpatialSeparated</a:t>
          </a:r>
          <a:r>
            <a:rPr lang="en-IN" sz="1600" kern="1200" dirty="0"/>
            <a:t> Segments in a Trip</a:t>
          </a:r>
        </a:p>
      </dsp:txBody>
      <dsp:txXfrm>
        <a:off x="2646" y="29353"/>
        <a:ext cx="2271686" cy="852690"/>
      </dsp:txXfrm>
    </dsp:sp>
    <dsp:sp modelId="{4B87CAAD-FF0C-4EF2-BBF1-2B145295DB6A}">
      <dsp:nvSpPr>
        <dsp:cNvPr id="0" name=""/>
        <dsp:cNvSpPr/>
      </dsp:nvSpPr>
      <dsp:spPr>
        <a:xfrm>
          <a:off x="467931" y="882044"/>
          <a:ext cx="2271686" cy="12546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171450" lvl="1" indent="-171450" algn="l" defTabSz="711200">
            <a:lnSpc>
              <a:spcPct val="90000"/>
            </a:lnSpc>
            <a:spcBef>
              <a:spcPct val="0"/>
            </a:spcBef>
            <a:spcAft>
              <a:spcPct val="15000"/>
            </a:spcAft>
            <a:buChar char="•"/>
          </a:pPr>
          <a:r>
            <a:rPr lang="en-IN" sz="1600" kern="1200" dirty="0"/>
            <a:t>Same Trip but vehicle  moving in two Geographies</a:t>
          </a:r>
        </a:p>
      </dsp:txBody>
      <dsp:txXfrm>
        <a:off x="504677" y="918790"/>
        <a:ext cx="2198194" cy="1181108"/>
      </dsp:txXfrm>
    </dsp:sp>
    <dsp:sp modelId="{4702BA49-EAFC-4F05-86C6-E6F509AFCCDD}">
      <dsp:nvSpPr>
        <dsp:cNvPr id="0" name=""/>
        <dsp:cNvSpPr/>
      </dsp:nvSpPr>
      <dsp:spPr>
        <a:xfrm>
          <a:off x="2618712" y="172906"/>
          <a:ext cx="730084" cy="5655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p>
      </dsp:txBody>
      <dsp:txXfrm>
        <a:off x="2618712" y="286023"/>
        <a:ext cx="560409" cy="339350"/>
      </dsp:txXfrm>
    </dsp:sp>
    <dsp:sp modelId="{3C8D4F4A-F999-41C3-ADB3-D43657A9D917}">
      <dsp:nvSpPr>
        <dsp:cNvPr id="0" name=""/>
        <dsp:cNvSpPr/>
      </dsp:nvSpPr>
      <dsp:spPr>
        <a:xfrm>
          <a:off x="3651851" y="29353"/>
          <a:ext cx="2271686" cy="127903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IN" sz="1600" kern="1200" dirty="0"/>
            <a:t>Remove Inconsequential Points</a:t>
          </a:r>
        </a:p>
      </dsp:txBody>
      <dsp:txXfrm>
        <a:off x="3651851" y="29353"/>
        <a:ext cx="2271686" cy="852690"/>
      </dsp:txXfrm>
    </dsp:sp>
    <dsp:sp modelId="{AD55A5DF-7F73-428E-A5A8-0F480BBAB9B3}">
      <dsp:nvSpPr>
        <dsp:cNvPr id="0" name=""/>
        <dsp:cNvSpPr/>
      </dsp:nvSpPr>
      <dsp:spPr>
        <a:xfrm>
          <a:off x="4117136" y="882044"/>
          <a:ext cx="2271686" cy="12546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171450" lvl="1" indent="-171450" algn="l" defTabSz="711200">
            <a:lnSpc>
              <a:spcPct val="90000"/>
            </a:lnSpc>
            <a:spcBef>
              <a:spcPct val="0"/>
            </a:spcBef>
            <a:spcAft>
              <a:spcPct val="15000"/>
            </a:spcAft>
            <a:buChar char="•"/>
          </a:pPr>
          <a:r>
            <a:rPr lang="en-IN" sz="1600" kern="1200" dirty="0"/>
            <a:t>Modified RDP algorithm</a:t>
          </a:r>
        </a:p>
        <a:p>
          <a:pPr marL="171450" lvl="1" indent="-171450" algn="l" defTabSz="711200">
            <a:lnSpc>
              <a:spcPct val="90000"/>
            </a:lnSpc>
            <a:spcBef>
              <a:spcPct val="0"/>
            </a:spcBef>
            <a:spcAft>
              <a:spcPct val="15000"/>
            </a:spcAft>
            <a:buChar char="•"/>
          </a:pPr>
          <a:r>
            <a:rPr lang="en-IN" sz="1600" kern="1200" dirty="0"/>
            <a:t>Based on Spatial and Speed Deviation</a:t>
          </a:r>
        </a:p>
      </dsp:txBody>
      <dsp:txXfrm>
        <a:off x="4153882" y="918790"/>
        <a:ext cx="2198194" cy="11811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A26696-F358-402A-A32E-5B55632AEA76}">
      <dsp:nvSpPr>
        <dsp:cNvPr id="0" name=""/>
        <dsp:cNvSpPr/>
      </dsp:nvSpPr>
      <dsp:spPr>
        <a:xfrm>
          <a:off x="3365" y="290083"/>
          <a:ext cx="2888892" cy="10153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marL="0" lvl="0" indent="0" algn="l" defTabSz="755650">
            <a:lnSpc>
              <a:spcPct val="90000"/>
            </a:lnSpc>
            <a:spcBef>
              <a:spcPct val="0"/>
            </a:spcBef>
            <a:spcAft>
              <a:spcPct val="35000"/>
            </a:spcAft>
            <a:buNone/>
          </a:pPr>
          <a:r>
            <a:rPr lang="en-IN" sz="1700" kern="1200" dirty="0"/>
            <a:t>Identify </a:t>
          </a:r>
          <a:r>
            <a:rPr lang="en-IN" sz="1700" kern="1200" dirty="0" err="1"/>
            <a:t>Discountinuities</a:t>
          </a:r>
          <a:r>
            <a:rPr lang="en-IN" sz="1700" kern="1200" dirty="0"/>
            <a:t> in the successive points</a:t>
          </a:r>
        </a:p>
      </dsp:txBody>
      <dsp:txXfrm>
        <a:off x="3365" y="290083"/>
        <a:ext cx="2888892" cy="676900"/>
      </dsp:txXfrm>
    </dsp:sp>
    <dsp:sp modelId="{79363D58-2539-442D-BA7B-8A980F88F629}">
      <dsp:nvSpPr>
        <dsp:cNvPr id="0" name=""/>
        <dsp:cNvSpPr/>
      </dsp:nvSpPr>
      <dsp:spPr>
        <a:xfrm>
          <a:off x="595066" y="966983"/>
          <a:ext cx="2888892" cy="41616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IN" sz="1700" kern="1200" dirty="0"/>
            <a:t>If Time Difference is 0, </a:t>
          </a:r>
        </a:p>
        <a:p>
          <a:pPr marL="342900" lvl="2" indent="-171450" algn="l" defTabSz="755650">
            <a:lnSpc>
              <a:spcPct val="90000"/>
            </a:lnSpc>
            <a:spcBef>
              <a:spcPct val="0"/>
            </a:spcBef>
            <a:spcAft>
              <a:spcPct val="15000"/>
            </a:spcAft>
            <a:buChar char="•"/>
          </a:pPr>
          <a:r>
            <a:rPr lang="en-IN" sz="1700" kern="1200" dirty="0"/>
            <a:t>Distance &lt; 35 Meter – Then remove as Stationary Point</a:t>
          </a:r>
        </a:p>
        <a:p>
          <a:pPr marL="342900" lvl="2" indent="-171450" algn="l" defTabSz="755650">
            <a:lnSpc>
              <a:spcPct val="90000"/>
            </a:lnSpc>
            <a:spcBef>
              <a:spcPct val="0"/>
            </a:spcBef>
            <a:spcAft>
              <a:spcPct val="15000"/>
            </a:spcAft>
            <a:buChar char="•"/>
          </a:pPr>
          <a:r>
            <a:rPr lang="en-IN" sz="1700" kern="1200" dirty="0"/>
            <a:t>Distance &gt; 35 Meter then different Segment</a:t>
          </a:r>
        </a:p>
        <a:p>
          <a:pPr marL="171450" lvl="1" indent="-171450" algn="l" defTabSz="755650">
            <a:lnSpc>
              <a:spcPct val="90000"/>
            </a:lnSpc>
            <a:spcBef>
              <a:spcPct val="0"/>
            </a:spcBef>
            <a:spcAft>
              <a:spcPct val="15000"/>
            </a:spcAft>
            <a:buChar char="•"/>
          </a:pPr>
          <a:r>
            <a:rPr lang="en-IN" sz="1700" kern="1200" dirty="0"/>
            <a:t>Speed w.r.t previous point &gt; SpeedCutoff2 (120KM) – Separate Segment</a:t>
          </a:r>
        </a:p>
        <a:p>
          <a:pPr marL="171450" lvl="1" indent="-171450" algn="l" defTabSz="755650">
            <a:lnSpc>
              <a:spcPct val="90000"/>
            </a:lnSpc>
            <a:spcBef>
              <a:spcPct val="0"/>
            </a:spcBef>
            <a:spcAft>
              <a:spcPct val="15000"/>
            </a:spcAft>
            <a:buChar char="•"/>
          </a:pPr>
          <a:r>
            <a:rPr lang="en-IN" sz="1700" kern="1200" dirty="0"/>
            <a:t>Speed &gt; SpeedCutoff1 (119 KM) and &lt; SpeedCutoff2 then distance &gt; </a:t>
          </a:r>
          <a:r>
            <a:rPr lang="en-IN" sz="1700" kern="1200" dirty="0" err="1"/>
            <a:t>distCutoff</a:t>
          </a:r>
          <a:r>
            <a:rPr lang="en-IN" sz="1700" kern="1200" dirty="0"/>
            <a:t> (0.035KM) then Separate Segment</a:t>
          </a:r>
        </a:p>
      </dsp:txBody>
      <dsp:txXfrm>
        <a:off x="679679" y="1051596"/>
        <a:ext cx="2719666" cy="3992374"/>
      </dsp:txXfrm>
    </dsp:sp>
    <dsp:sp modelId="{BD8036B1-6AFB-47B7-B7C3-27F3CE330A79}">
      <dsp:nvSpPr>
        <dsp:cNvPr id="0" name=""/>
        <dsp:cNvSpPr/>
      </dsp:nvSpPr>
      <dsp:spPr>
        <a:xfrm>
          <a:off x="3330203" y="268908"/>
          <a:ext cx="928444" cy="7192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IN" sz="1400" kern="1200"/>
        </a:p>
      </dsp:txBody>
      <dsp:txXfrm>
        <a:off x="3330203" y="412758"/>
        <a:ext cx="712669" cy="431550"/>
      </dsp:txXfrm>
    </dsp:sp>
    <dsp:sp modelId="{1FE8E859-542D-4303-883D-2A16C41EE2D1}">
      <dsp:nvSpPr>
        <dsp:cNvPr id="0" name=""/>
        <dsp:cNvSpPr/>
      </dsp:nvSpPr>
      <dsp:spPr>
        <a:xfrm>
          <a:off x="4644040" y="290083"/>
          <a:ext cx="2888892" cy="10153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64770" numCol="1" spcCol="1270" anchor="t" anchorCtr="0">
          <a:noAutofit/>
        </a:bodyPr>
        <a:lstStyle/>
        <a:p>
          <a:pPr marL="0" lvl="0" indent="0" algn="l" defTabSz="755650">
            <a:lnSpc>
              <a:spcPct val="90000"/>
            </a:lnSpc>
            <a:spcBef>
              <a:spcPct val="0"/>
            </a:spcBef>
            <a:spcAft>
              <a:spcPct val="35000"/>
            </a:spcAft>
            <a:buNone/>
          </a:pPr>
          <a:r>
            <a:rPr lang="en-IN" sz="1700" kern="1200" dirty="0"/>
            <a:t>Find which earlier Segment it belongs</a:t>
          </a:r>
        </a:p>
      </dsp:txBody>
      <dsp:txXfrm>
        <a:off x="4644040" y="290083"/>
        <a:ext cx="2888892" cy="676900"/>
      </dsp:txXfrm>
    </dsp:sp>
    <dsp:sp modelId="{F010F942-2144-4F2D-AF3A-2FBE1487E702}">
      <dsp:nvSpPr>
        <dsp:cNvPr id="0" name=""/>
        <dsp:cNvSpPr/>
      </dsp:nvSpPr>
      <dsp:spPr>
        <a:xfrm>
          <a:off x="5235741" y="966983"/>
          <a:ext cx="2888892" cy="41616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171450" lvl="1" indent="-171450" algn="l" defTabSz="755650">
            <a:lnSpc>
              <a:spcPct val="90000"/>
            </a:lnSpc>
            <a:spcBef>
              <a:spcPct val="0"/>
            </a:spcBef>
            <a:spcAft>
              <a:spcPct val="15000"/>
            </a:spcAft>
            <a:buChar char="•"/>
          </a:pPr>
          <a:r>
            <a:rPr lang="en-IN" sz="1700" kern="1200" dirty="0"/>
            <a:t>Check Other Segments other than Segment of Previous Point</a:t>
          </a:r>
        </a:p>
        <a:p>
          <a:pPr marL="171450" lvl="1" indent="-171450" algn="l" defTabSz="755650">
            <a:lnSpc>
              <a:spcPct val="90000"/>
            </a:lnSpc>
            <a:spcBef>
              <a:spcPct val="0"/>
            </a:spcBef>
            <a:spcAft>
              <a:spcPct val="15000"/>
            </a:spcAft>
            <a:buChar char="•"/>
          </a:pPr>
          <a:r>
            <a:rPr lang="en-IN" sz="1700" kern="1200" dirty="0"/>
            <a:t>Find Segment with which Speed &lt; SpeedCutoff1 and Minimum Distance</a:t>
          </a:r>
        </a:p>
        <a:p>
          <a:pPr marL="171450" lvl="1" indent="-171450" algn="l" defTabSz="755650">
            <a:lnSpc>
              <a:spcPct val="90000"/>
            </a:lnSpc>
            <a:spcBef>
              <a:spcPct val="0"/>
            </a:spcBef>
            <a:spcAft>
              <a:spcPct val="15000"/>
            </a:spcAft>
            <a:buChar char="•"/>
          </a:pPr>
          <a:r>
            <a:rPr lang="en-IN" sz="1700" kern="1200" dirty="0"/>
            <a:t>If no Segment qualifies then give this point a new Segment number</a:t>
          </a:r>
        </a:p>
      </dsp:txBody>
      <dsp:txXfrm>
        <a:off x="5320354" y="1051596"/>
        <a:ext cx="2719666" cy="3992374"/>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21539" name="Rectangle 3"/>
          <p:cNvSpPr>
            <a:spLocks noGrp="1" noChangeArrowheads="1"/>
          </p:cNvSpPr>
          <p:nvPr>
            <p:ph type="ctrTitle"/>
          </p:nvPr>
        </p:nvSpPr>
        <p:spPr>
          <a:xfrm>
            <a:off x="2532355" y="928141"/>
            <a:ext cx="7221070" cy="1774803"/>
          </a:xfrm>
        </p:spPr>
        <p:txBody>
          <a:bodyPr anchor="b"/>
          <a:lstStyle>
            <a:lvl1pPr algn="r">
              <a:defRPr sz="3137"/>
            </a:lvl1pPr>
          </a:lstStyle>
          <a:p>
            <a:r>
              <a:rPr lang="en-US" altLang="en-US"/>
              <a:t>Click to edit Master title style</a:t>
            </a:r>
            <a:endParaRPr lang="en-IN" altLang="en-US" dirty="0"/>
          </a:p>
        </p:txBody>
      </p:sp>
      <p:sp>
        <p:nvSpPr>
          <p:cNvPr id="321540" name="Rectangle 4"/>
          <p:cNvSpPr>
            <a:spLocks noGrp="1" noChangeArrowheads="1"/>
          </p:cNvSpPr>
          <p:nvPr>
            <p:ph type="subTitle" idx="1"/>
          </p:nvPr>
        </p:nvSpPr>
        <p:spPr>
          <a:xfrm>
            <a:off x="2532355" y="2944963"/>
            <a:ext cx="7221070" cy="2466824"/>
          </a:xfrm>
        </p:spPr>
        <p:txBody>
          <a:bodyPr/>
          <a:lstStyle>
            <a:lvl1pPr marL="0" indent="0" algn="r">
              <a:buFont typeface="Wingdings" pitchFamily="2" charset="2"/>
              <a:buNone/>
              <a:defRPr sz="2241">
                <a:solidFill>
                  <a:schemeClr val="accent2"/>
                </a:solidFill>
              </a:defRPr>
            </a:lvl1pPr>
          </a:lstStyle>
          <a:p>
            <a:r>
              <a:rPr lang="en-US" altLang="en-US"/>
              <a:t>Click to edit Master subtitle style</a:t>
            </a:r>
            <a:endParaRPr lang="en-IN" altLang="en-US" dirty="0"/>
          </a:p>
        </p:txBody>
      </p:sp>
      <p:sp>
        <p:nvSpPr>
          <p:cNvPr id="41" name="Title 1"/>
          <p:cNvSpPr txBox="1">
            <a:spLocks/>
          </p:cNvSpPr>
          <p:nvPr/>
        </p:nvSpPr>
        <p:spPr>
          <a:xfrm>
            <a:off x="623391" y="5535050"/>
            <a:ext cx="10618638" cy="766796"/>
          </a:xfrm>
          <a:prstGeom prst="rect">
            <a:avLst/>
          </a:prstGeom>
        </p:spPr>
        <p:txBody>
          <a:bodyPr/>
          <a:lstStyle/>
          <a:p>
            <a:pPr algn="ctr" fontAlgn="auto">
              <a:spcAft>
                <a:spcPts val="0"/>
              </a:spcAft>
              <a:defRPr/>
            </a:pPr>
            <a:r>
              <a:rPr lang="en-US" sz="1344" dirty="0">
                <a:solidFill>
                  <a:srgbClr val="0070C0"/>
                </a:solidFill>
              </a:rPr>
              <a:t>© 2019: Sensorise Digital Services Limited</a:t>
            </a:r>
          </a:p>
          <a:p>
            <a:pPr algn="ctr" fontAlgn="auto">
              <a:spcAft>
                <a:spcPts val="0"/>
              </a:spcAft>
              <a:defRPr/>
            </a:pPr>
            <a:r>
              <a:rPr lang="en-US" sz="1120" dirty="0">
                <a:solidFill>
                  <a:schemeClr val="bg1">
                    <a:lumMod val="65000"/>
                  </a:schemeClr>
                </a:solidFill>
              </a:rPr>
              <a:t>All rights reserved. No part of this document may be reproduced or transmitted in any form or by any means, electronic, mechanical, photocopying, recording, or otherwise, without prior written permission of Sensorise</a:t>
            </a:r>
            <a:endParaRPr lang="en-US" sz="1568" b="1" dirty="0">
              <a:solidFill>
                <a:schemeClr val="bg1">
                  <a:lumMod val="65000"/>
                </a:schemeClr>
              </a:solidFill>
              <a:latin typeface="Helvetica" pitchFamily="34" charset="0"/>
              <a:ea typeface="+mj-ea"/>
              <a:cs typeface="+mj-cs"/>
            </a:endParaRPr>
          </a:p>
        </p:txBody>
      </p:sp>
      <p:pic>
        <p:nvPicPr>
          <p:cNvPr id="2" name="Picture 1" descr="original-6368-344381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1632" y="1815543"/>
            <a:ext cx="2156943" cy="1922509"/>
          </a:xfrm>
          <a:prstGeom prst="rect">
            <a:avLst/>
          </a:prstGeom>
        </p:spPr>
      </p:pic>
      <p:cxnSp>
        <p:nvCxnSpPr>
          <p:cNvPr id="4" name="Straight Connector 3"/>
          <p:cNvCxnSpPr/>
          <p:nvPr/>
        </p:nvCxnSpPr>
        <p:spPr>
          <a:xfrm>
            <a:off x="9940986" y="928141"/>
            <a:ext cx="1" cy="4495800"/>
          </a:xfrm>
          <a:prstGeom prst="line">
            <a:avLst/>
          </a:prstGeom>
          <a:ln w="9525"/>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flipV="1">
            <a:off x="2532356" y="2783617"/>
            <a:ext cx="8846850" cy="35783"/>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7" name="Footer Placeholder 6"/>
          <p:cNvSpPr>
            <a:spLocks noGrp="1"/>
          </p:cNvSpPr>
          <p:nvPr>
            <p:ph type="ftr" sz="quarter" idx="10"/>
          </p:nvPr>
        </p:nvSpPr>
        <p:spPr/>
        <p:txBody>
          <a:bodyPr/>
          <a:lstStyle/>
          <a:p>
            <a:endParaRPr lang="en-IN"/>
          </a:p>
        </p:txBody>
      </p:sp>
      <p:sp>
        <p:nvSpPr>
          <p:cNvPr id="8" name="Slide Number Placeholder 7"/>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126036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5" y="2130429"/>
            <a:ext cx="10363200" cy="1470025"/>
          </a:xfrm>
        </p:spPr>
        <p:txBody>
          <a:bodyPr anchor="b"/>
          <a:lstStyle/>
          <a:p>
            <a:r>
              <a:rPr lang="en-US"/>
              <a:t>Click to edit Master title style</a:t>
            </a:r>
            <a:endParaRPr lang="en-US" dirty="0"/>
          </a:p>
        </p:txBody>
      </p:sp>
      <p:sp>
        <p:nvSpPr>
          <p:cNvPr id="3" name="Subtitle 2"/>
          <p:cNvSpPr>
            <a:spLocks noGrp="1"/>
          </p:cNvSpPr>
          <p:nvPr>
            <p:ph type="subTitle" idx="1"/>
          </p:nvPr>
        </p:nvSpPr>
        <p:spPr>
          <a:xfrm>
            <a:off x="938093" y="3751692"/>
            <a:ext cx="8534401" cy="1752600"/>
          </a:xfrm>
        </p:spPr>
        <p:txBody>
          <a:bodyPr>
            <a:normAutofit/>
          </a:bodyPr>
          <a:lstStyle>
            <a:lvl1pPr marL="0" indent="0" algn="l">
              <a:buNone/>
              <a:defRPr sz="2241">
                <a:solidFill>
                  <a:srgbClr val="76AC4D"/>
                </a:solidFill>
              </a:defRPr>
            </a:lvl1pPr>
            <a:lvl2pPr marL="512201" indent="0" algn="ctr">
              <a:buNone/>
              <a:defRPr>
                <a:solidFill>
                  <a:schemeClr val="tx1">
                    <a:tint val="75000"/>
                  </a:schemeClr>
                </a:solidFill>
              </a:defRPr>
            </a:lvl2pPr>
            <a:lvl3pPr marL="1024402" indent="0" algn="ctr">
              <a:buNone/>
              <a:defRPr>
                <a:solidFill>
                  <a:schemeClr val="tx1">
                    <a:tint val="75000"/>
                  </a:schemeClr>
                </a:solidFill>
              </a:defRPr>
            </a:lvl3pPr>
            <a:lvl4pPr marL="1536603" indent="0" algn="ctr">
              <a:buNone/>
              <a:defRPr>
                <a:solidFill>
                  <a:schemeClr val="tx1">
                    <a:tint val="75000"/>
                  </a:schemeClr>
                </a:solidFill>
              </a:defRPr>
            </a:lvl4pPr>
            <a:lvl5pPr marL="2048805" indent="0" algn="ctr">
              <a:buNone/>
              <a:defRPr>
                <a:solidFill>
                  <a:schemeClr val="tx1">
                    <a:tint val="75000"/>
                  </a:schemeClr>
                </a:solidFill>
              </a:defRPr>
            </a:lvl5pPr>
            <a:lvl6pPr marL="2561006" indent="0" algn="ctr">
              <a:buNone/>
              <a:defRPr>
                <a:solidFill>
                  <a:schemeClr val="tx1">
                    <a:tint val="75000"/>
                  </a:schemeClr>
                </a:solidFill>
              </a:defRPr>
            </a:lvl6pPr>
            <a:lvl7pPr marL="3073207" indent="0" algn="ctr">
              <a:buNone/>
              <a:defRPr>
                <a:solidFill>
                  <a:schemeClr val="tx1">
                    <a:tint val="75000"/>
                  </a:schemeClr>
                </a:solidFill>
              </a:defRPr>
            </a:lvl7pPr>
            <a:lvl8pPr marL="3585408" indent="0" algn="ctr">
              <a:buNone/>
              <a:defRPr>
                <a:solidFill>
                  <a:schemeClr val="tx1">
                    <a:tint val="75000"/>
                  </a:schemeClr>
                </a:solidFill>
              </a:defRPr>
            </a:lvl8pPr>
            <a:lvl9pPr marL="4097609" indent="0" algn="ctr">
              <a:buNone/>
              <a:defRPr>
                <a:solidFill>
                  <a:schemeClr val="tx1">
                    <a:tint val="75000"/>
                  </a:schemeClr>
                </a:solidFill>
              </a:defRPr>
            </a:lvl9pPr>
          </a:lstStyle>
          <a:p>
            <a:r>
              <a:rPr lang="en-US"/>
              <a:t>Click to edit Master subtitle style</a:t>
            </a:r>
            <a:endParaRPr lang="en-US" dirty="0"/>
          </a:p>
        </p:txBody>
      </p:sp>
      <p:cxnSp>
        <p:nvCxnSpPr>
          <p:cNvPr id="8" name="Straight Connector 7"/>
          <p:cNvCxnSpPr/>
          <p:nvPr/>
        </p:nvCxnSpPr>
        <p:spPr>
          <a:xfrm>
            <a:off x="938093" y="3671019"/>
            <a:ext cx="10315814" cy="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6" name="Footer Placeholder 5"/>
          <p:cNvSpPr>
            <a:spLocks noGrp="1"/>
          </p:cNvSpPr>
          <p:nvPr>
            <p:ph type="ftr" sz="quarter" idx="10"/>
          </p:nvPr>
        </p:nvSpPr>
        <p:spPr/>
        <p:txBody>
          <a:bodyPr/>
          <a:lstStyle/>
          <a:p>
            <a:endParaRPr lang="en-IN"/>
          </a:p>
        </p:txBody>
      </p:sp>
      <p:sp>
        <p:nvSpPr>
          <p:cNvPr id="11" name="Slide Number Placeholder 10"/>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953036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genda Slid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2112" name="think-cell Slide" r:id="rId4" imgW="360" imgH="360" progId="">
                  <p:embed/>
                </p:oleObj>
              </mc:Choice>
              <mc:Fallback>
                <p:oleObj name="think-cell Slide" r:id="rId4" imgW="360" imgH="36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sz="half" idx="1"/>
          </p:nvPr>
        </p:nvSpPr>
        <p:spPr>
          <a:xfrm>
            <a:off x="609606" y="928142"/>
            <a:ext cx="3798353" cy="2984896"/>
          </a:xfrm>
        </p:spPr>
        <p:txBody>
          <a:bodyPr/>
          <a:lstStyle>
            <a:lvl1pPr marL="0" indent="0">
              <a:buNone/>
              <a:defRPr sz="2017"/>
            </a:lvl1pPr>
            <a:lvl2pPr>
              <a:defRPr sz="1792"/>
            </a:lvl2pPr>
            <a:lvl3pPr>
              <a:defRPr sz="1792"/>
            </a:lvl3pPr>
            <a:lvl4pPr>
              <a:defRPr sz="1568"/>
            </a:lvl4pPr>
            <a:lvl5pPr>
              <a:defRPr sz="1568"/>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9299" y="928142"/>
            <a:ext cx="6893106"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22" name="Straight Connector 21"/>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7" name="Footer Placeholder 6"/>
          <p:cNvSpPr>
            <a:spLocks noGrp="1"/>
          </p:cNvSpPr>
          <p:nvPr>
            <p:ph type="ftr" sz="quarter" idx="10"/>
          </p:nvPr>
        </p:nvSpPr>
        <p:spPr/>
        <p:txBody>
          <a:bodyPr/>
          <a:lstStyle/>
          <a:p>
            <a:endParaRPr lang="en-IN"/>
          </a:p>
        </p:txBody>
      </p:sp>
      <p:sp>
        <p:nvSpPr>
          <p:cNvPr id="8" name="Slide Number Placeholder 7"/>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961688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3136" name="think-cell Slide" r:id="rId4" imgW="360" imgH="360" progId="">
                  <p:embed/>
                </p:oleObj>
              </mc:Choice>
              <mc:Fallback>
                <p:oleObj name="think-cell Slide" r:id="rId4" imgW="360" imgH="360" progId="">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9" name="Straight Connector 8"/>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609605" y="928142"/>
            <a:ext cx="10972800" cy="52437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16"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6" name="Footer Placeholder 5"/>
          <p:cNvSpPr>
            <a:spLocks noGrp="1"/>
          </p:cNvSpPr>
          <p:nvPr>
            <p:ph type="ftr" sz="quarter" idx="10"/>
          </p:nvPr>
        </p:nvSpPr>
        <p:spPr/>
        <p:txBody>
          <a:bodyPr/>
          <a:lstStyle/>
          <a:p>
            <a:endParaRPr lang="en-IN"/>
          </a:p>
        </p:txBody>
      </p:sp>
      <p:sp>
        <p:nvSpPr>
          <p:cNvPr id="7" name="Slide Number Placeholder 6"/>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2553239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4160" name="think-cell Slide" r:id="rId4" imgW="360" imgH="360" progId="">
                  <p:embed/>
                </p:oleObj>
              </mc:Choice>
              <mc:Fallback>
                <p:oleObj name="think-cell Slide" r:id="rId4" imgW="360" imgH="36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sz="half" idx="1"/>
          </p:nvPr>
        </p:nvSpPr>
        <p:spPr>
          <a:xfrm>
            <a:off x="609605" y="928142"/>
            <a:ext cx="5384800"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5" y="928142"/>
            <a:ext cx="5384800"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22" name="Straight Connector 21"/>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7" name="Footer Placeholder 6"/>
          <p:cNvSpPr>
            <a:spLocks noGrp="1"/>
          </p:cNvSpPr>
          <p:nvPr>
            <p:ph type="ftr" sz="quarter" idx="10"/>
          </p:nvPr>
        </p:nvSpPr>
        <p:spPr/>
        <p:txBody>
          <a:bodyPr/>
          <a:lstStyle/>
          <a:p>
            <a:endParaRPr lang="en-IN"/>
          </a:p>
        </p:txBody>
      </p:sp>
      <p:sp>
        <p:nvSpPr>
          <p:cNvPr id="8" name="Slide Number Placeholder 7"/>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832710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12" name="Straight Connector 11"/>
          <p:cNvCxnSpPr/>
          <p:nvPr/>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0"/>
          </p:nvPr>
        </p:nvSpPr>
        <p:spPr/>
        <p:txBody>
          <a:bodyPr/>
          <a:lstStyle/>
          <a:p>
            <a:endParaRPr lang="en-IN"/>
          </a:p>
        </p:txBody>
      </p:sp>
      <p:sp>
        <p:nvSpPr>
          <p:cNvPr id="7" name="Slide Number Placeholder 6"/>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1502865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24" y="1592"/>
          <a:ext cx="2116" cy="1588"/>
        </p:xfrm>
        <a:graphic>
          <a:graphicData uri="http://schemas.openxmlformats.org/presentationml/2006/ole">
            <mc:AlternateContent xmlns:mc="http://schemas.openxmlformats.org/markup-compatibility/2006">
              <mc:Choice xmlns:v="urn:schemas-microsoft-com:vml" Requires="v">
                <p:oleObj spid="_x0000_s5184"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4" y="1592"/>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6" name="Footer Placeholder 5"/>
          <p:cNvSpPr>
            <a:spLocks noGrp="1"/>
          </p:cNvSpPr>
          <p:nvPr>
            <p:ph type="ftr" sz="quarter" idx="10"/>
          </p:nvPr>
        </p:nvSpPr>
        <p:spPr/>
        <p:txBody>
          <a:bodyPr/>
          <a:lstStyle/>
          <a:p>
            <a:endParaRPr lang="en-IN"/>
          </a:p>
        </p:txBody>
      </p:sp>
      <p:sp>
        <p:nvSpPr>
          <p:cNvPr id="7" name="Slide Number Placeholder 6"/>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3020660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6208" name="think-cell Slide" r:id="rId4" imgW="360" imgH="360" progId="">
                  <p:embed/>
                </p:oleObj>
              </mc:Choice>
              <mc:Fallback>
                <p:oleObj name="think-cell Slide" r:id="rId4" imgW="360" imgH="360" progId="">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966681" y="2079625"/>
            <a:ext cx="5535719" cy="1362075"/>
          </a:xfrm>
        </p:spPr>
        <p:txBody>
          <a:bodyPr anchor="t"/>
          <a:lstStyle>
            <a:lvl1pPr algn="l">
              <a:defRPr sz="4481" b="1" cap="none" baseline="0"/>
            </a:lvl1pPr>
          </a:lstStyle>
          <a:p>
            <a:r>
              <a:rPr lang="en-US"/>
              <a:t>Click to edit Master title style</a:t>
            </a:r>
            <a:endParaRPr lang="en-US" dirty="0"/>
          </a:p>
        </p:txBody>
      </p:sp>
      <p:sp>
        <p:nvSpPr>
          <p:cNvPr id="3" name="Text Placeholder 2"/>
          <p:cNvSpPr>
            <a:spLocks noGrp="1"/>
          </p:cNvSpPr>
          <p:nvPr>
            <p:ph type="body" idx="1"/>
          </p:nvPr>
        </p:nvSpPr>
        <p:spPr>
          <a:xfrm>
            <a:off x="966681" y="3452815"/>
            <a:ext cx="5535719" cy="1500187"/>
          </a:xfrm>
        </p:spPr>
        <p:txBody>
          <a:bodyPr anchor="b"/>
          <a:lstStyle>
            <a:lvl1pPr marL="0" indent="0">
              <a:buNone/>
              <a:defRPr sz="2241">
                <a:solidFill>
                  <a:schemeClr val="tx1">
                    <a:tint val="75000"/>
                  </a:schemeClr>
                </a:solidFill>
              </a:defRPr>
            </a:lvl1pPr>
            <a:lvl2pPr marL="512201" indent="0">
              <a:buNone/>
              <a:defRPr sz="2017">
                <a:solidFill>
                  <a:schemeClr val="tx1">
                    <a:tint val="75000"/>
                  </a:schemeClr>
                </a:solidFill>
              </a:defRPr>
            </a:lvl2pPr>
            <a:lvl3pPr marL="1024402" indent="0">
              <a:buNone/>
              <a:defRPr sz="1792">
                <a:solidFill>
                  <a:schemeClr val="tx1">
                    <a:tint val="75000"/>
                  </a:schemeClr>
                </a:solidFill>
              </a:defRPr>
            </a:lvl3pPr>
            <a:lvl4pPr marL="1536603" indent="0">
              <a:buNone/>
              <a:defRPr sz="1568">
                <a:solidFill>
                  <a:schemeClr val="tx1">
                    <a:tint val="75000"/>
                  </a:schemeClr>
                </a:solidFill>
              </a:defRPr>
            </a:lvl4pPr>
            <a:lvl5pPr marL="2048805" indent="0">
              <a:buNone/>
              <a:defRPr sz="1568">
                <a:solidFill>
                  <a:schemeClr val="tx1">
                    <a:tint val="75000"/>
                  </a:schemeClr>
                </a:solidFill>
              </a:defRPr>
            </a:lvl5pPr>
            <a:lvl6pPr marL="2561006" indent="0">
              <a:buNone/>
              <a:defRPr sz="1568">
                <a:solidFill>
                  <a:schemeClr val="tx1">
                    <a:tint val="75000"/>
                  </a:schemeClr>
                </a:solidFill>
              </a:defRPr>
            </a:lvl6pPr>
            <a:lvl7pPr marL="3073207" indent="0">
              <a:buNone/>
              <a:defRPr sz="1568">
                <a:solidFill>
                  <a:schemeClr val="tx1">
                    <a:tint val="75000"/>
                  </a:schemeClr>
                </a:solidFill>
              </a:defRPr>
            </a:lvl7pPr>
            <a:lvl8pPr marL="3585408" indent="0">
              <a:buNone/>
              <a:defRPr sz="1568">
                <a:solidFill>
                  <a:schemeClr val="tx1">
                    <a:tint val="75000"/>
                  </a:schemeClr>
                </a:solidFill>
              </a:defRPr>
            </a:lvl8pPr>
            <a:lvl9pPr marL="4097609" indent="0">
              <a:buNone/>
              <a:defRPr sz="1568">
                <a:solidFill>
                  <a:schemeClr val="tx1">
                    <a:tint val="75000"/>
                  </a:schemeClr>
                </a:solidFill>
              </a:defRPr>
            </a:lvl9pPr>
          </a:lstStyle>
          <a:p>
            <a:pPr lvl="0"/>
            <a:r>
              <a:rPr lang="en-US"/>
              <a:t>Click to edit Master text styles</a:t>
            </a:r>
          </a:p>
        </p:txBody>
      </p:sp>
      <p:pic>
        <p:nvPicPr>
          <p:cNvPr id="5" name="Picture 2"/>
          <p:cNvPicPr>
            <a:picLocks noChangeAspect="1" noChangeArrowheads="1"/>
          </p:cNvPicPr>
          <p:nvPr/>
        </p:nvPicPr>
        <p:blipFill>
          <a:blip r:embed="rId6" cstate="print"/>
          <a:srcRect/>
          <a:stretch>
            <a:fillRect/>
          </a:stretch>
        </p:blipFill>
        <p:spPr bwMode="auto">
          <a:xfrm>
            <a:off x="11066347" y="115888"/>
            <a:ext cx="1125653" cy="686125"/>
          </a:xfrm>
          <a:prstGeom prst="rect">
            <a:avLst/>
          </a:prstGeom>
          <a:noFill/>
          <a:ln w="9525">
            <a:noFill/>
            <a:miter lim="800000"/>
            <a:headEnd/>
            <a:tailEnd/>
          </a:ln>
        </p:spPr>
      </p:pic>
      <p:sp>
        <p:nvSpPr>
          <p:cNvPr id="8" name="Footer Placeholder 7"/>
          <p:cNvSpPr>
            <a:spLocks noGrp="1"/>
          </p:cNvSpPr>
          <p:nvPr>
            <p:ph type="ftr" sz="quarter" idx="10"/>
          </p:nvPr>
        </p:nvSpPr>
        <p:spPr/>
        <p:txBody>
          <a:bodyPr/>
          <a:lstStyle/>
          <a:p>
            <a:endParaRPr lang="en-IN"/>
          </a:p>
        </p:txBody>
      </p:sp>
      <p:sp>
        <p:nvSpPr>
          <p:cNvPr id="9" name="Slide Number Placeholder 8"/>
          <p:cNvSpPr>
            <a:spLocks noGrp="1"/>
          </p:cNvSpPr>
          <p:nvPr>
            <p:ph type="sldNum" sz="quarter" idx="11"/>
          </p:nvPr>
        </p:nvSpPr>
        <p:spPr/>
        <p:txBody>
          <a:bodyPr/>
          <a:lstStyle/>
          <a:p>
            <a:fld id="{7F0F7697-E628-4922-9FCA-B989B2FE882A}" type="slidenum">
              <a:rPr lang="en-IN" smtClean="0"/>
              <a:t>‹#›</a:t>
            </a:fld>
            <a:endParaRPr lang="en-IN"/>
          </a:p>
        </p:txBody>
      </p:sp>
    </p:spTree>
    <p:extLst>
      <p:ext uri="{BB962C8B-B14F-4D97-AF65-F5344CB8AC3E}">
        <p14:creationId xmlns:p14="http://schemas.microsoft.com/office/powerpoint/2010/main" val="25830359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1"/>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1088" name="think-cell Slide" r:id="rId12" imgW="360" imgH="360" progId="">
                  <p:embed/>
                </p:oleObj>
              </mc:Choice>
              <mc:Fallback>
                <p:oleObj name="think-cell Slide" r:id="rId12" imgW="360" imgH="360" progId="">
                  <p:embed/>
                  <p:pic>
                    <p:nvPicPr>
                      <p:cNvPr id="1026"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9" name="Text Placeholder 2"/>
          <p:cNvSpPr>
            <a:spLocks noGrp="1"/>
          </p:cNvSpPr>
          <p:nvPr>
            <p:ph type="body" idx="1"/>
          </p:nvPr>
        </p:nvSpPr>
        <p:spPr bwMode="auto">
          <a:xfrm>
            <a:off x="609605" y="1125538"/>
            <a:ext cx="109728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623392" y="6400800"/>
            <a:ext cx="6785530" cy="365125"/>
          </a:xfrm>
          <a:prstGeom prst="rect">
            <a:avLst/>
          </a:prstGeom>
        </p:spPr>
        <p:txBody>
          <a:bodyPr vert="horz" lIns="91440" tIns="45720" rIns="91440" bIns="45720" rtlCol="0" anchor="ctr"/>
          <a:lstStyle>
            <a:lvl1pPr algn="ctr" fontAlgn="auto">
              <a:spcBef>
                <a:spcPts val="0"/>
              </a:spcBef>
              <a:spcAft>
                <a:spcPts val="0"/>
              </a:spcAft>
              <a:defRPr sz="1344">
                <a:solidFill>
                  <a:prstClr val="black">
                    <a:tint val="75000"/>
                  </a:prstClr>
                </a:solidFill>
                <a:latin typeface="Helvetica" pitchFamily="34" charset="0"/>
                <a:cs typeface="Helvetica" pitchFamily="34" charset="0"/>
              </a:defRPr>
            </a:lvl1pPr>
          </a:lstStyle>
          <a:p>
            <a:endParaRPr lang="en-IN"/>
          </a:p>
        </p:txBody>
      </p:sp>
      <p:sp>
        <p:nvSpPr>
          <p:cNvPr id="6" name="Slide Number Placeholder 5"/>
          <p:cNvSpPr>
            <a:spLocks noGrp="1"/>
          </p:cNvSpPr>
          <p:nvPr>
            <p:ph type="sldNum" sz="quarter" idx="4"/>
          </p:nvPr>
        </p:nvSpPr>
        <p:spPr>
          <a:xfrm>
            <a:off x="9950223" y="6400800"/>
            <a:ext cx="1632182" cy="365125"/>
          </a:xfrm>
          <a:prstGeom prst="rect">
            <a:avLst/>
          </a:prstGeom>
        </p:spPr>
        <p:txBody>
          <a:bodyPr vert="horz" lIns="91440" tIns="45720" rIns="91440" bIns="45720" rtlCol="0" anchor="ctr"/>
          <a:lstStyle>
            <a:lvl1pPr algn="l" rtl="0" fontAlgn="auto">
              <a:spcBef>
                <a:spcPts val="0"/>
              </a:spcBef>
              <a:spcAft>
                <a:spcPts val="0"/>
              </a:spcAft>
              <a:defRPr lang="en-US" sz="1344" kern="1200" smtClean="0">
                <a:solidFill>
                  <a:srgbClr val="0070C0"/>
                </a:solidFill>
                <a:latin typeface="Helvetica" pitchFamily="34" charset="0"/>
                <a:ea typeface="+mn-ea"/>
                <a:cs typeface="Helvetica" pitchFamily="34" charset="0"/>
              </a:defRPr>
            </a:lvl1pPr>
          </a:lstStyle>
          <a:p>
            <a:fld id="{7F0F7697-E628-4922-9FCA-B989B2FE882A}" type="slidenum">
              <a:rPr lang="en-IN" smtClean="0"/>
              <a:t>‹#›</a:t>
            </a:fld>
            <a:endParaRPr lang="en-IN"/>
          </a:p>
        </p:txBody>
      </p:sp>
      <p:pic>
        <p:nvPicPr>
          <p:cNvPr id="7" name="Picture 2"/>
          <p:cNvPicPr>
            <a:picLocks noChangeAspect="1" noChangeArrowheads="1"/>
          </p:cNvPicPr>
          <p:nvPr/>
        </p:nvPicPr>
        <p:blipFill>
          <a:blip r:embed="rId14" cstate="print"/>
          <a:srcRect/>
          <a:stretch>
            <a:fillRect/>
          </a:stretch>
        </p:blipFill>
        <p:spPr bwMode="auto">
          <a:xfrm>
            <a:off x="11066347" y="115888"/>
            <a:ext cx="1125653" cy="686125"/>
          </a:xfrm>
          <a:prstGeom prst="rect">
            <a:avLst/>
          </a:prstGeom>
          <a:noFill/>
          <a:ln w="9525">
            <a:noFill/>
            <a:miter lim="800000"/>
            <a:headEnd/>
            <a:tailEnd/>
          </a:ln>
        </p:spPr>
      </p:pic>
    </p:spTree>
    <p:extLst>
      <p:ext uri="{BB962C8B-B14F-4D97-AF65-F5344CB8AC3E}">
        <p14:creationId xmlns:p14="http://schemas.microsoft.com/office/powerpoint/2010/main" val="4318577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fontAlgn="base" hangingPunct="1">
        <a:spcBef>
          <a:spcPct val="0"/>
        </a:spcBef>
        <a:spcAft>
          <a:spcPct val="0"/>
        </a:spcAft>
        <a:defRPr sz="2689" b="0" kern="1200">
          <a:solidFill>
            <a:schemeClr val="tx1"/>
          </a:solidFill>
          <a:latin typeface="+mj-lt"/>
          <a:ea typeface="+mj-ea"/>
          <a:cs typeface="+mj-cs"/>
        </a:defRPr>
      </a:lvl1pPr>
      <a:lvl2pPr algn="l" rtl="0" eaLnBrk="1" fontAlgn="base" hangingPunct="1">
        <a:spcBef>
          <a:spcPct val="0"/>
        </a:spcBef>
        <a:spcAft>
          <a:spcPct val="0"/>
        </a:spcAft>
        <a:defRPr sz="2241" b="1">
          <a:solidFill>
            <a:schemeClr val="tx1"/>
          </a:solidFill>
          <a:latin typeface="Calibri" pitchFamily="34" charset="0"/>
        </a:defRPr>
      </a:lvl2pPr>
      <a:lvl3pPr algn="l" rtl="0" eaLnBrk="1" fontAlgn="base" hangingPunct="1">
        <a:spcBef>
          <a:spcPct val="0"/>
        </a:spcBef>
        <a:spcAft>
          <a:spcPct val="0"/>
        </a:spcAft>
        <a:defRPr sz="2241" b="1">
          <a:solidFill>
            <a:schemeClr val="tx1"/>
          </a:solidFill>
          <a:latin typeface="Calibri" pitchFamily="34" charset="0"/>
        </a:defRPr>
      </a:lvl3pPr>
      <a:lvl4pPr algn="l" rtl="0" eaLnBrk="1" fontAlgn="base" hangingPunct="1">
        <a:spcBef>
          <a:spcPct val="0"/>
        </a:spcBef>
        <a:spcAft>
          <a:spcPct val="0"/>
        </a:spcAft>
        <a:defRPr sz="2241" b="1">
          <a:solidFill>
            <a:schemeClr val="tx1"/>
          </a:solidFill>
          <a:latin typeface="Calibri" pitchFamily="34" charset="0"/>
        </a:defRPr>
      </a:lvl4pPr>
      <a:lvl5pPr algn="l" rtl="0" eaLnBrk="1" fontAlgn="base" hangingPunct="1">
        <a:spcBef>
          <a:spcPct val="0"/>
        </a:spcBef>
        <a:spcAft>
          <a:spcPct val="0"/>
        </a:spcAft>
        <a:defRPr sz="2241" b="1">
          <a:solidFill>
            <a:schemeClr val="tx1"/>
          </a:solidFill>
          <a:latin typeface="Calibri" pitchFamily="34" charset="0"/>
        </a:defRPr>
      </a:lvl5pPr>
      <a:lvl6pPr marL="512201" algn="l" rtl="0" eaLnBrk="1" fontAlgn="base" hangingPunct="1">
        <a:spcBef>
          <a:spcPct val="0"/>
        </a:spcBef>
        <a:spcAft>
          <a:spcPct val="0"/>
        </a:spcAft>
        <a:defRPr sz="2241" b="1">
          <a:solidFill>
            <a:schemeClr val="tx1"/>
          </a:solidFill>
          <a:latin typeface="Calibri" pitchFamily="34" charset="0"/>
        </a:defRPr>
      </a:lvl6pPr>
      <a:lvl7pPr marL="1024402" algn="l" rtl="0" eaLnBrk="1" fontAlgn="base" hangingPunct="1">
        <a:spcBef>
          <a:spcPct val="0"/>
        </a:spcBef>
        <a:spcAft>
          <a:spcPct val="0"/>
        </a:spcAft>
        <a:defRPr sz="2241" b="1">
          <a:solidFill>
            <a:schemeClr val="tx1"/>
          </a:solidFill>
          <a:latin typeface="Calibri" pitchFamily="34" charset="0"/>
        </a:defRPr>
      </a:lvl7pPr>
      <a:lvl8pPr marL="1536603" algn="l" rtl="0" eaLnBrk="1" fontAlgn="base" hangingPunct="1">
        <a:spcBef>
          <a:spcPct val="0"/>
        </a:spcBef>
        <a:spcAft>
          <a:spcPct val="0"/>
        </a:spcAft>
        <a:defRPr sz="2241" b="1">
          <a:solidFill>
            <a:schemeClr val="tx1"/>
          </a:solidFill>
          <a:latin typeface="Calibri" pitchFamily="34" charset="0"/>
        </a:defRPr>
      </a:lvl8pPr>
      <a:lvl9pPr marL="2048805" algn="l" rtl="0" eaLnBrk="1" fontAlgn="base" hangingPunct="1">
        <a:spcBef>
          <a:spcPct val="0"/>
        </a:spcBef>
        <a:spcAft>
          <a:spcPct val="0"/>
        </a:spcAft>
        <a:defRPr sz="2241" b="1">
          <a:solidFill>
            <a:schemeClr val="tx1"/>
          </a:solidFill>
          <a:latin typeface="Calibri" pitchFamily="34" charset="0"/>
        </a:defRPr>
      </a:lvl9pPr>
    </p:titleStyle>
    <p:bodyStyle>
      <a:lvl1pPr marL="384151" indent="-384151" algn="l" rtl="0" eaLnBrk="1" fontAlgn="base" hangingPunct="1">
        <a:spcBef>
          <a:spcPct val="20000"/>
        </a:spcBef>
        <a:spcAft>
          <a:spcPct val="0"/>
        </a:spcAft>
        <a:buFont typeface="Arial" charset="0"/>
        <a:buChar char="•"/>
        <a:defRPr sz="2241" kern="1200">
          <a:solidFill>
            <a:schemeClr val="accent1"/>
          </a:solidFill>
          <a:latin typeface="+mn-lt"/>
          <a:ea typeface="+mn-ea"/>
          <a:cs typeface="+mn-cs"/>
        </a:defRPr>
      </a:lvl1pPr>
      <a:lvl2pPr marL="832327" indent="-320126" algn="l" rtl="0" eaLnBrk="1" fontAlgn="base" hangingPunct="1">
        <a:spcBef>
          <a:spcPct val="20000"/>
        </a:spcBef>
        <a:spcAft>
          <a:spcPct val="0"/>
        </a:spcAft>
        <a:buFont typeface="Arial"/>
        <a:buChar char="•"/>
        <a:defRPr sz="2017" kern="1200">
          <a:solidFill>
            <a:schemeClr val="accent1"/>
          </a:solidFill>
          <a:latin typeface="+mn-lt"/>
          <a:ea typeface="+mn-ea"/>
          <a:cs typeface="+mn-cs"/>
        </a:defRPr>
      </a:lvl2pPr>
      <a:lvl3pPr marL="1280503" indent="-256101" algn="l" rtl="0" eaLnBrk="1" fontAlgn="base" hangingPunct="1">
        <a:spcBef>
          <a:spcPct val="20000"/>
        </a:spcBef>
        <a:spcAft>
          <a:spcPct val="0"/>
        </a:spcAft>
        <a:buFont typeface="Arial" charset="0"/>
        <a:buChar char="•"/>
        <a:defRPr kern="1200">
          <a:solidFill>
            <a:schemeClr val="accent1"/>
          </a:solidFill>
          <a:latin typeface="+mn-lt"/>
          <a:ea typeface="+mn-ea"/>
          <a:cs typeface="+mn-cs"/>
        </a:defRPr>
      </a:lvl3pPr>
      <a:lvl4pPr marL="1792704" indent="-256101" algn="l" rtl="0" eaLnBrk="1" fontAlgn="base" hangingPunct="1">
        <a:spcBef>
          <a:spcPct val="20000"/>
        </a:spcBef>
        <a:spcAft>
          <a:spcPct val="0"/>
        </a:spcAft>
        <a:buFont typeface="Arial"/>
        <a:buChar char="•"/>
        <a:defRPr sz="1792" kern="1200">
          <a:solidFill>
            <a:schemeClr val="accent1"/>
          </a:solidFill>
          <a:latin typeface="+mn-lt"/>
          <a:ea typeface="+mn-ea"/>
          <a:cs typeface="+mn-cs"/>
        </a:defRPr>
      </a:lvl4pPr>
      <a:lvl5pPr marL="2304905" indent="-256101" algn="l" rtl="0" eaLnBrk="1" fontAlgn="base" hangingPunct="1">
        <a:spcBef>
          <a:spcPct val="20000"/>
        </a:spcBef>
        <a:spcAft>
          <a:spcPct val="0"/>
        </a:spcAft>
        <a:buFont typeface="Arial"/>
        <a:buChar char="•"/>
        <a:defRPr sz="1792" kern="1200">
          <a:solidFill>
            <a:schemeClr val="accent1"/>
          </a:solidFill>
          <a:latin typeface="+mn-lt"/>
          <a:ea typeface="+mn-ea"/>
          <a:cs typeface="+mn-cs"/>
        </a:defRPr>
      </a:lvl5pPr>
      <a:lvl6pPr marL="2817106"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6pPr>
      <a:lvl7pPr marL="3329308"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7pPr>
      <a:lvl8pPr marL="3841509"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8pPr>
      <a:lvl9pPr marL="4353710" indent="-256101" algn="l" defTabSz="1024402" rtl="0" eaLnBrk="1" latinLnBrk="0" hangingPunct="1">
        <a:spcBef>
          <a:spcPct val="20000"/>
        </a:spcBef>
        <a:buFont typeface="Arial" pitchFamily="34" charset="0"/>
        <a:buChar char="•"/>
        <a:defRPr sz="2241" kern="1200">
          <a:solidFill>
            <a:schemeClr val="tx1"/>
          </a:solidFill>
          <a:latin typeface="+mn-lt"/>
          <a:ea typeface="+mn-ea"/>
          <a:cs typeface="+mn-cs"/>
        </a:defRPr>
      </a:lvl9pPr>
    </p:bodyStyle>
    <p:otherStyle>
      <a:defPPr>
        <a:defRPr lang="en-US"/>
      </a:defPPr>
      <a:lvl1pPr marL="0" algn="l" defTabSz="1024402" rtl="0" eaLnBrk="1" latinLnBrk="0" hangingPunct="1">
        <a:defRPr sz="2017" kern="1200">
          <a:solidFill>
            <a:schemeClr val="tx1"/>
          </a:solidFill>
          <a:latin typeface="+mn-lt"/>
          <a:ea typeface="+mn-ea"/>
          <a:cs typeface="+mn-cs"/>
        </a:defRPr>
      </a:lvl1pPr>
      <a:lvl2pPr marL="512201" algn="l" defTabSz="1024402" rtl="0" eaLnBrk="1" latinLnBrk="0" hangingPunct="1">
        <a:defRPr sz="2017" kern="1200">
          <a:solidFill>
            <a:schemeClr val="tx1"/>
          </a:solidFill>
          <a:latin typeface="+mn-lt"/>
          <a:ea typeface="+mn-ea"/>
          <a:cs typeface="+mn-cs"/>
        </a:defRPr>
      </a:lvl2pPr>
      <a:lvl3pPr marL="1024402" algn="l" defTabSz="1024402" rtl="0" eaLnBrk="1" latinLnBrk="0" hangingPunct="1">
        <a:defRPr sz="2017" kern="1200">
          <a:solidFill>
            <a:schemeClr val="tx1"/>
          </a:solidFill>
          <a:latin typeface="+mn-lt"/>
          <a:ea typeface="+mn-ea"/>
          <a:cs typeface="+mn-cs"/>
        </a:defRPr>
      </a:lvl3pPr>
      <a:lvl4pPr marL="1536603" algn="l" defTabSz="1024402" rtl="0" eaLnBrk="1" latinLnBrk="0" hangingPunct="1">
        <a:defRPr sz="2017" kern="1200">
          <a:solidFill>
            <a:schemeClr val="tx1"/>
          </a:solidFill>
          <a:latin typeface="+mn-lt"/>
          <a:ea typeface="+mn-ea"/>
          <a:cs typeface="+mn-cs"/>
        </a:defRPr>
      </a:lvl4pPr>
      <a:lvl5pPr marL="2048805" algn="l" defTabSz="1024402" rtl="0" eaLnBrk="1" latinLnBrk="0" hangingPunct="1">
        <a:defRPr sz="2017" kern="1200">
          <a:solidFill>
            <a:schemeClr val="tx1"/>
          </a:solidFill>
          <a:latin typeface="+mn-lt"/>
          <a:ea typeface="+mn-ea"/>
          <a:cs typeface="+mn-cs"/>
        </a:defRPr>
      </a:lvl5pPr>
      <a:lvl6pPr marL="2561006" algn="l" defTabSz="1024402" rtl="0" eaLnBrk="1" latinLnBrk="0" hangingPunct="1">
        <a:defRPr sz="2017" kern="1200">
          <a:solidFill>
            <a:schemeClr val="tx1"/>
          </a:solidFill>
          <a:latin typeface="+mn-lt"/>
          <a:ea typeface="+mn-ea"/>
          <a:cs typeface="+mn-cs"/>
        </a:defRPr>
      </a:lvl6pPr>
      <a:lvl7pPr marL="3073207" algn="l" defTabSz="1024402" rtl="0" eaLnBrk="1" latinLnBrk="0" hangingPunct="1">
        <a:defRPr sz="2017" kern="1200">
          <a:solidFill>
            <a:schemeClr val="tx1"/>
          </a:solidFill>
          <a:latin typeface="+mn-lt"/>
          <a:ea typeface="+mn-ea"/>
          <a:cs typeface="+mn-cs"/>
        </a:defRPr>
      </a:lvl7pPr>
      <a:lvl8pPr marL="3585408" algn="l" defTabSz="1024402" rtl="0" eaLnBrk="1" latinLnBrk="0" hangingPunct="1">
        <a:defRPr sz="2017" kern="1200">
          <a:solidFill>
            <a:schemeClr val="tx1"/>
          </a:solidFill>
          <a:latin typeface="+mn-lt"/>
          <a:ea typeface="+mn-ea"/>
          <a:cs typeface="+mn-cs"/>
        </a:defRPr>
      </a:lvl8pPr>
      <a:lvl9pPr marL="4097609" algn="l" defTabSz="1024402" rtl="0" eaLnBrk="1" latinLnBrk="0" hangingPunct="1">
        <a:defRPr sz="201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87BC6-6684-4B13-868F-3F5870B21135}"/>
              </a:ext>
            </a:extLst>
          </p:cNvPr>
          <p:cNvSpPr>
            <a:spLocks noGrp="1"/>
          </p:cNvSpPr>
          <p:nvPr>
            <p:ph type="ctrTitle"/>
          </p:nvPr>
        </p:nvSpPr>
        <p:spPr/>
        <p:txBody>
          <a:bodyPr/>
          <a:lstStyle/>
          <a:p>
            <a:r>
              <a:rPr lang="en-IN" dirty="0"/>
              <a:t>VTS Data Set Cleaning</a:t>
            </a:r>
          </a:p>
        </p:txBody>
      </p:sp>
      <p:sp>
        <p:nvSpPr>
          <p:cNvPr id="3" name="Subtitle 2">
            <a:extLst>
              <a:ext uri="{FF2B5EF4-FFF2-40B4-BE49-F238E27FC236}">
                <a16:creationId xmlns:a16="http://schemas.microsoft.com/office/drawing/2014/main" id="{2EB2D8D4-F9B0-4796-8DE9-FF1C2A1D4F3D}"/>
              </a:ext>
            </a:extLst>
          </p:cNvPr>
          <p:cNvSpPr>
            <a:spLocks noGrp="1"/>
          </p:cNvSpPr>
          <p:nvPr>
            <p:ph type="subTitle" idx="1"/>
          </p:nvPr>
        </p:nvSpPr>
        <p:spPr/>
        <p:txBody>
          <a:bodyPr/>
          <a:lstStyle/>
          <a:p>
            <a:r>
              <a:rPr lang="en-IN" dirty="0"/>
              <a:t>Cleaning Process</a:t>
            </a:r>
          </a:p>
        </p:txBody>
      </p:sp>
    </p:spTree>
    <p:extLst>
      <p:ext uri="{BB962C8B-B14F-4D97-AF65-F5344CB8AC3E}">
        <p14:creationId xmlns:p14="http://schemas.microsoft.com/office/powerpoint/2010/main" val="395263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8194D7-C97A-4759-B3BA-E8FAB6E502B8}"/>
              </a:ext>
            </a:extLst>
          </p:cNvPr>
          <p:cNvSpPr>
            <a:spLocks noGrp="1"/>
          </p:cNvSpPr>
          <p:nvPr>
            <p:ph idx="1"/>
          </p:nvPr>
        </p:nvSpPr>
        <p:spPr/>
        <p:txBody>
          <a:bodyPr/>
          <a:lstStyle/>
          <a:p>
            <a:r>
              <a:rPr lang="en-IN" dirty="0"/>
              <a:t>Clean Record summary file with following fields is created</a:t>
            </a:r>
          </a:p>
          <a:p>
            <a:pPr lvl="1"/>
            <a:r>
              <a:rPr lang="en-IN" dirty="0"/>
              <a:t>IMEI</a:t>
            </a:r>
          </a:p>
          <a:p>
            <a:pPr lvl="1"/>
            <a:r>
              <a:rPr lang="en-IN" dirty="0"/>
              <a:t>Duration in Days: End Date – StartDate + 1</a:t>
            </a:r>
          </a:p>
          <a:p>
            <a:pPr lvl="1"/>
            <a:r>
              <a:rPr lang="en-IN" dirty="0"/>
              <a:t>Total PVT Points</a:t>
            </a:r>
          </a:p>
          <a:p>
            <a:pPr lvl="1"/>
            <a:r>
              <a:rPr lang="en-IN" dirty="0"/>
              <a:t>Duplicate PVT Points</a:t>
            </a:r>
          </a:p>
          <a:p>
            <a:pPr lvl="1"/>
            <a:r>
              <a:rPr lang="en-IN" dirty="0"/>
              <a:t>Stationary PVT Points</a:t>
            </a:r>
          </a:p>
          <a:p>
            <a:pPr lvl="1"/>
            <a:r>
              <a:rPr lang="en-IN" dirty="0"/>
              <a:t>Total # Trips</a:t>
            </a:r>
          </a:p>
          <a:p>
            <a:pPr lvl="1"/>
            <a:r>
              <a:rPr lang="en-IN" dirty="0"/>
              <a:t>Total # Segments</a:t>
            </a:r>
          </a:p>
          <a:p>
            <a:pPr lvl="1"/>
            <a:r>
              <a:rPr lang="en-IN" dirty="0"/>
              <a:t>Total # RDP Excluded PVT Point</a:t>
            </a:r>
          </a:p>
          <a:p>
            <a:pPr lvl="1"/>
            <a:r>
              <a:rPr lang="en-IN" dirty="0"/>
              <a:t>Maximum PVT Points in a Segment across all trips</a:t>
            </a:r>
          </a:p>
          <a:p>
            <a:pPr lvl="1"/>
            <a:r>
              <a:rPr lang="en-IN" dirty="0"/>
              <a:t>Maximum time of the Segment across all trips</a:t>
            </a:r>
          </a:p>
          <a:p>
            <a:pPr lvl="1"/>
            <a:r>
              <a:rPr lang="en-IN" dirty="0"/>
              <a:t>Total Time of all the segments </a:t>
            </a:r>
          </a:p>
          <a:p>
            <a:pPr lvl="1"/>
            <a:r>
              <a:rPr lang="en-IN" dirty="0"/>
              <a:t># Segments where Count of PVT Points &lt;=3</a:t>
            </a:r>
          </a:p>
        </p:txBody>
      </p:sp>
      <p:sp>
        <p:nvSpPr>
          <p:cNvPr id="3" name="Title 2">
            <a:extLst>
              <a:ext uri="{FF2B5EF4-FFF2-40B4-BE49-F238E27FC236}">
                <a16:creationId xmlns:a16="http://schemas.microsoft.com/office/drawing/2014/main" id="{E77D3E38-C3DA-4D1B-A257-B84A8BD8C3FA}"/>
              </a:ext>
            </a:extLst>
          </p:cNvPr>
          <p:cNvSpPr>
            <a:spLocks noGrp="1"/>
          </p:cNvSpPr>
          <p:nvPr>
            <p:ph type="title"/>
          </p:nvPr>
        </p:nvSpPr>
        <p:spPr/>
        <p:txBody>
          <a:bodyPr/>
          <a:lstStyle/>
          <a:p>
            <a:r>
              <a:rPr lang="en-IN" dirty="0"/>
              <a:t>Data Cleaning Summary Output</a:t>
            </a:r>
          </a:p>
        </p:txBody>
      </p:sp>
    </p:spTree>
    <p:extLst>
      <p:ext uri="{BB962C8B-B14F-4D97-AF65-F5344CB8AC3E}">
        <p14:creationId xmlns:p14="http://schemas.microsoft.com/office/powerpoint/2010/main" val="3575016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D5F50-86BD-48ED-ADC1-A66F84BFE745}"/>
              </a:ext>
            </a:extLst>
          </p:cNvPr>
          <p:cNvSpPr>
            <a:spLocks noGrp="1"/>
          </p:cNvSpPr>
          <p:nvPr>
            <p:ph type="ctrTitle"/>
          </p:nvPr>
        </p:nvSpPr>
        <p:spPr/>
        <p:txBody>
          <a:bodyPr/>
          <a:lstStyle/>
          <a:p>
            <a:r>
              <a:rPr lang="en-IN" dirty="0"/>
              <a:t>Demo of Clean Data</a:t>
            </a:r>
          </a:p>
        </p:txBody>
      </p:sp>
      <p:sp>
        <p:nvSpPr>
          <p:cNvPr id="3" name="Subtitle 2">
            <a:extLst>
              <a:ext uri="{FF2B5EF4-FFF2-40B4-BE49-F238E27FC236}">
                <a16:creationId xmlns:a16="http://schemas.microsoft.com/office/drawing/2014/main" id="{72F3AEFE-E60B-4C89-8A7D-30C55B88A24B}"/>
              </a:ext>
            </a:extLst>
          </p:cNvPr>
          <p:cNvSpPr>
            <a:spLocks noGrp="1"/>
          </p:cNvSpPr>
          <p:nvPr>
            <p:ph type="subTitle" idx="1"/>
          </p:nvPr>
        </p:nvSpPr>
        <p:spPr/>
        <p:txBody>
          <a:bodyPr/>
          <a:lstStyle/>
          <a:p>
            <a:r>
              <a:rPr lang="en-IN" dirty="0"/>
              <a:t>Screen Layout Design</a:t>
            </a:r>
          </a:p>
        </p:txBody>
      </p:sp>
    </p:spTree>
    <p:extLst>
      <p:ext uri="{BB962C8B-B14F-4D97-AF65-F5344CB8AC3E}">
        <p14:creationId xmlns:p14="http://schemas.microsoft.com/office/powerpoint/2010/main" val="2725281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153F6D8-9FB0-4E9E-804B-C77FDA7D8E0D}"/>
              </a:ext>
            </a:extLst>
          </p:cNvPr>
          <p:cNvSpPr>
            <a:spLocks noGrp="1"/>
          </p:cNvSpPr>
          <p:nvPr>
            <p:ph sz="half" idx="1"/>
          </p:nvPr>
        </p:nvSpPr>
        <p:spPr/>
        <p:txBody>
          <a:bodyPr/>
          <a:lstStyle/>
          <a:p>
            <a:r>
              <a:rPr lang="en-IN" sz="2000" dirty="0"/>
              <a:t>Start Date of Data</a:t>
            </a:r>
          </a:p>
          <a:p>
            <a:r>
              <a:rPr lang="en-IN" sz="2000" dirty="0"/>
              <a:t>#IMIE</a:t>
            </a:r>
          </a:p>
          <a:p>
            <a:r>
              <a:rPr lang="en-IN" sz="2000" dirty="0"/>
              <a:t>#Total PVT Points</a:t>
            </a:r>
          </a:p>
          <a:p>
            <a:endParaRPr lang="en-IN" dirty="0"/>
          </a:p>
          <a:p>
            <a:r>
              <a:rPr lang="en-IN" sz="2000" dirty="0"/>
              <a:t>Trip Distribution Table (Trip Count and #IMIEs)</a:t>
            </a:r>
          </a:p>
          <a:p>
            <a:pPr lvl="1"/>
            <a:r>
              <a:rPr lang="en-IN" sz="1800" dirty="0"/>
              <a:t>Trip Counts: 1-6, 7-10,11-20,21-30,31-50, &gt; 50</a:t>
            </a:r>
          </a:p>
          <a:p>
            <a:r>
              <a:rPr lang="en-IN" sz="2000" dirty="0"/>
              <a:t>Trip Time Distribution (Time and count of Trips)</a:t>
            </a:r>
          </a:p>
          <a:p>
            <a:pPr lvl="1"/>
            <a:r>
              <a:rPr lang="en-IN" sz="1800" dirty="0"/>
              <a:t>Time: &lt;30 Min, 30Min-1.5Hr, 1.5Hr – 3Hr, 3Hr-6Hr, 6Hr – 10Hr, &gt; 10Hr</a:t>
            </a:r>
          </a:p>
          <a:p>
            <a:r>
              <a:rPr lang="en-IN" sz="2000" dirty="0"/>
              <a:t>Hour of Day Distribution (Trip Start Time and Count of trips)</a:t>
            </a:r>
          </a:p>
          <a:p>
            <a:pPr lvl="1"/>
            <a:r>
              <a:rPr lang="en-IN" sz="1800" dirty="0"/>
              <a:t>Start Time: Midnigh-4AM, 4AM-8AM, 8AM-2PM,2PM-6PM, 6PM-9PM, 9PM-Midnight</a:t>
            </a:r>
          </a:p>
          <a:p>
            <a:pPr lvl="1"/>
            <a:endParaRPr lang="en-IN" sz="1800" dirty="0"/>
          </a:p>
          <a:p>
            <a:pPr lvl="1"/>
            <a:endParaRPr lang="en-IN" dirty="0"/>
          </a:p>
          <a:p>
            <a:endParaRPr lang="en-IN" dirty="0"/>
          </a:p>
        </p:txBody>
      </p:sp>
      <p:sp>
        <p:nvSpPr>
          <p:cNvPr id="4" name="Content Placeholder 3">
            <a:extLst>
              <a:ext uri="{FF2B5EF4-FFF2-40B4-BE49-F238E27FC236}">
                <a16:creationId xmlns:a16="http://schemas.microsoft.com/office/drawing/2014/main" id="{DED1CBCE-81E9-4058-B471-7F9BDAFC7B7A}"/>
              </a:ext>
            </a:extLst>
          </p:cNvPr>
          <p:cNvSpPr>
            <a:spLocks noGrp="1"/>
          </p:cNvSpPr>
          <p:nvPr>
            <p:ph sz="half" idx="2"/>
          </p:nvPr>
        </p:nvSpPr>
        <p:spPr/>
        <p:txBody>
          <a:bodyPr/>
          <a:lstStyle/>
          <a:p>
            <a:r>
              <a:rPr lang="en-IN" sz="2000" dirty="0"/>
              <a:t>End Date of Data</a:t>
            </a:r>
          </a:p>
          <a:p>
            <a:r>
              <a:rPr lang="en-IN" sz="2000" dirty="0"/>
              <a:t>#Used PVT Points</a:t>
            </a:r>
          </a:p>
          <a:p>
            <a:r>
              <a:rPr lang="en-IN" sz="2000" dirty="0"/>
              <a:t>#Rejected PVT Points</a:t>
            </a:r>
          </a:p>
          <a:p>
            <a:endParaRPr lang="en-IN" sz="2000" dirty="0"/>
          </a:p>
          <a:p>
            <a:r>
              <a:rPr lang="en-IN" sz="2000" dirty="0"/>
              <a:t>Segment Distribution (Segment Count and #Trips )</a:t>
            </a:r>
          </a:p>
          <a:p>
            <a:pPr lvl="1"/>
            <a:r>
              <a:rPr lang="en-IN" sz="1800" dirty="0"/>
              <a:t>Segment Counts:  1, 2, 3, 4-6, 7-8, &gt; 8</a:t>
            </a:r>
          </a:p>
          <a:p>
            <a:r>
              <a:rPr lang="en-IN" sz="2000" dirty="0"/>
              <a:t>Trip Distance Distribution (Distance and count of Trips)</a:t>
            </a:r>
          </a:p>
          <a:p>
            <a:pPr lvl="1"/>
            <a:r>
              <a:rPr lang="en-IN" sz="1600" dirty="0"/>
              <a:t>Time: &lt; 1KM, 1KM-10KM, 11KM-20KM, 20KM-40KM, 40KM – 60KM, &gt; 60KM</a:t>
            </a:r>
          </a:p>
          <a:p>
            <a:r>
              <a:rPr lang="en-IN" sz="1824" dirty="0"/>
              <a:t>Day of Week Distribution (For each Day count of Trips starting on that day)</a:t>
            </a:r>
          </a:p>
          <a:p>
            <a:pPr lvl="1"/>
            <a:r>
              <a:rPr lang="en-IN" sz="1600" dirty="0"/>
              <a:t>DOW: Mon </a:t>
            </a:r>
            <a:r>
              <a:rPr lang="en-IN" sz="1600"/>
              <a:t>to Sunday</a:t>
            </a:r>
            <a:endParaRPr lang="en-IN" sz="1600" dirty="0"/>
          </a:p>
          <a:p>
            <a:pPr lvl="1"/>
            <a:endParaRPr lang="en-IN" sz="1600" dirty="0"/>
          </a:p>
          <a:p>
            <a:pPr lvl="1"/>
            <a:endParaRPr lang="en-IN" sz="1600" dirty="0"/>
          </a:p>
          <a:p>
            <a:endParaRPr lang="en-IN" sz="2024" dirty="0"/>
          </a:p>
          <a:p>
            <a:pPr lvl="1"/>
            <a:endParaRPr lang="en-IN" dirty="0"/>
          </a:p>
          <a:p>
            <a:pPr lvl="1"/>
            <a:endParaRPr lang="en-IN" dirty="0"/>
          </a:p>
        </p:txBody>
      </p:sp>
      <p:sp>
        <p:nvSpPr>
          <p:cNvPr id="3" name="Title 2">
            <a:extLst>
              <a:ext uri="{FF2B5EF4-FFF2-40B4-BE49-F238E27FC236}">
                <a16:creationId xmlns:a16="http://schemas.microsoft.com/office/drawing/2014/main" id="{1011D02F-C565-48D1-A277-4250601E315C}"/>
              </a:ext>
            </a:extLst>
          </p:cNvPr>
          <p:cNvSpPr>
            <a:spLocks noGrp="1"/>
          </p:cNvSpPr>
          <p:nvPr>
            <p:ph type="title"/>
          </p:nvPr>
        </p:nvSpPr>
        <p:spPr/>
        <p:txBody>
          <a:bodyPr/>
          <a:lstStyle/>
          <a:p>
            <a:r>
              <a:rPr lang="en-IN" dirty="0"/>
              <a:t>Summary Display</a:t>
            </a:r>
          </a:p>
        </p:txBody>
      </p:sp>
    </p:spTree>
    <p:extLst>
      <p:ext uri="{BB962C8B-B14F-4D97-AF65-F5344CB8AC3E}">
        <p14:creationId xmlns:p14="http://schemas.microsoft.com/office/powerpoint/2010/main" val="1360063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D5F50-86BD-48ED-ADC1-A66F84BFE745}"/>
              </a:ext>
            </a:extLst>
          </p:cNvPr>
          <p:cNvSpPr>
            <a:spLocks noGrp="1"/>
          </p:cNvSpPr>
          <p:nvPr>
            <p:ph type="ctrTitle"/>
          </p:nvPr>
        </p:nvSpPr>
        <p:spPr/>
        <p:txBody>
          <a:bodyPr/>
          <a:lstStyle/>
          <a:p>
            <a:r>
              <a:rPr lang="en-IN" dirty="0"/>
              <a:t>VTS Data Format</a:t>
            </a:r>
          </a:p>
        </p:txBody>
      </p:sp>
      <p:sp>
        <p:nvSpPr>
          <p:cNvPr id="3" name="Subtitle 2">
            <a:extLst>
              <a:ext uri="{FF2B5EF4-FFF2-40B4-BE49-F238E27FC236}">
                <a16:creationId xmlns:a16="http://schemas.microsoft.com/office/drawing/2014/main" id="{72F3AEFE-E60B-4C89-8A7D-30C55B88A24B}"/>
              </a:ext>
            </a:extLst>
          </p:cNvPr>
          <p:cNvSpPr>
            <a:spLocks noGrp="1"/>
          </p:cNvSpPr>
          <p:nvPr>
            <p:ph type="subTitle" idx="1"/>
          </p:nvPr>
        </p:nvSpPr>
        <p:spPr/>
        <p:txBody>
          <a:bodyPr/>
          <a:lstStyle/>
          <a:p>
            <a:r>
              <a:rPr lang="en-IN" dirty="0"/>
              <a:t>Input Data</a:t>
            </a:r>
          </a:p>
        </p:txBody>
      </p:sp>
    </p:spTree>
    <p:extLst>
      <p:ext uri="{BB962C8B-B14F-4D97-AF65-F5344CB8AC3E}">
        <p14:creationId xmlns:p14="http://schemas.microsoft.com/office/powerpoint/2010/main" val="2905465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385B6BE-22BD-4227-A732-696CAA1033F1}"/>
              </a:ext>
            </a:extLst>
          </p:cNvPr>
          <p:cNvSpPr>
            <a:spLocks noGrp="1"/>
          </p:cNvSpPr>
          <p:nvPr>
            <p:ph idx="1"/>
          </p:nvPr>
        </p:nvSpPr>
        <p:spPr/>
        <p:txBody>
          <a:bodyPr/>
          <a:lstStyle/>
          <a:p>
            <a:r>
              <a:rPr lang="en-IN" dirty="0"/>
              <a:t>One File for each Port and Day</a:t>
            </a:r>
          </a:p>
          <a:p>
            <a:r>
              <a:rPr lang="en-IN" dirty="0"/>
              <a:t>File Format</a:t>
            </a:r>
          </a:p>
          <a:p>
            <a:pPr lvl="1"/>
            <a:r>
              <a:rPr lang="en-IN" dirty="0" err="1"/>
              <a:t>RecordID</a:t>
            </a:r>
            <a:endParaRPr lang="en-IN" dirty="0"/>
          </a:p>
          <a:p>
            <a:pPr lvl="1"/>
            <a:r>
              <a:rPr lang="en-IN" dirty="0" err="1"/>
              <a:t>DateTime</a:t>
            </a:r>
            <a:r>
              <a:rPr lang="en-IN" dirty="0"/>
              <a:t> of Data Received</a:t>
            </a:r>
          </a:p>
          <a:p>
            <a:pPr lvl="1"/>
            <a:r>
              <a:rPr lang="en-IN" dirty="0"/>
              <a:t>PVT Data Packet</a:t>
            </a:r>
          </a:p>
          <a:p>
            <a:pPr lvl="1"/>
            <a:r>
              <a:rPr lang="en-IN" dirty="0"/>
              <a:t>IP Address</a:t>
            </a:r>
          </a:p>
          <a:p>
            <a:pPr lvl="1"/>
            <a:r>
              <a:rPr lang="en-IN" dirty="0"/>
              <a:t>Port#</a:t>
            </a:r>
          </a:p>
          <a:p>
            <a:r>
              <a:rPr lang="en-IN" dirty="0"/>
              <a:t>PVT Data Packet</a:t>
            </a:r>
          </a:p>
          <a:p>
            <a:pPr lvl="1"/>
            <a:r>
              <a:rPr lang="en-IN" dirty="0"/>
              <a:t>1 to N PVT Records</a:t>
            </a:r>
          </a:p>
          <a:p>
            <a:r>
              <a:rPr lang="en-IN" dirty="0"/>
              <a:t>PVT Record</a:t>
            </a:r>
          </a:p>
          <a:p>
            <a:pPr lvl="1"/>
            <a:r>
              <a:rPr lang="en-IN" dirty="0"/>
              <a:t>Start Character: $</a:t>
            </a:r>
          </a:p>
          <a:p>
            <a:pPr lvl="1"/>
            <a:r>
              <a:rPr lang="en-IN" dirty="0"/>
              <a:t>End Character:  *</a:t>
            </a:r>
          </a:p>
          <a:p>
            <a:pPr lvl="1"/>
            <a:r>
              <a:rPr lang="en-IN" dirty="0"/>
              <a:t>Comma Separated fields in between</a:t>
            </a:r>
          </a:p>
        </p:txBody>
      </p:sp>
      <p:sp>
        <p:nvSpPr>
          <p:cNvPr id="4" name="Title 3">
            <a:extLst>
              <a:ext uri="{FF2B5EF4-FFF2-40B4-BE49-F238E27FC236}">
                <a16:creationId xmlns:a16="http://schemas.microsoft.com/office/drawing/2014/main" id="{AD922C15-63C8-4465-BEF5-11FFBE417E3D}"/>
              </a:ext>
            </a:extLst>
          </p:cNvPr>
          <p:cNvSpPr>
            <a:spLocks noGrp="1"/>
          </p:cNvSpPr>
          <p:nvPr>
            <p:ph type="title"/>
          </p:nvPr>
        </p:nvSpPr>
        <p:spPr/>
        <p:txBody>
          <a:bodyPr/>
          <a:lstStyle/>
          <a:p>
            <a:r>
              <a:rPr lang="en-IN" dirty="0"/>
              <a:t>Raw Data Structure</a:t>
            </a:r>
          </a:p>
        </p:txBody>
      </p:sp>
    </p:spTree>
    <p:extLst>
      <p:ext uri="{BB962C8B-B14F-4D97-AF65-F5344CB8AC3E}">
        <p14:creationId xmlns:p14="http://schemas.microsoft.com/office/powerpoint/2010/main" val="4207995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CB6D91-58C7-42B3-A514-960E74F2B393}"/>
              </a:ext>
            </a:extLst>
          </p:cNvPr>
          <p:cNvSpPr>
            <a:spLocks noGrp="1"/>
          </p:cNvSpPr>
          <p:nvPr>
            <p:ph sz="half" idx="1"/>
          </p:nvPr>
        </p:nvSpPr>
        <p:spPr/>
        <p:txBody>
          <a:bodyPr/>
          <a:lstStyle/>
          <a:p>
            <a:r>
              <a:rPr lang="en-IN" sz="1800" dirty="0"/>
              <a:t>#Records</a:t>
            </a:r>
          </a:p>
          <a:p>
            <a:pPr lvl="1"/>
            <a:r>
              <a:rPr lang="en-IN" sz="1576" dirty="0"/>
              <a:t>&gt; 30</a:t>
            </a:r>
          </a:p>
          <a:p>
            <a:r>
              <a:rPr lang="en-IN" sz="1800" dirty="0"/>
              <a:t>Start Character</a:t>
            </a:r>
          </a:p>
          <a:p>
            <a:pPr lvl="1"/>
            <a:r>
              <a:rPr lang="en-IN" sz="1576" dirty="0"/>
              <a:t>$</a:t>
            </a:r>
          </a:p>
          <a:p>
            <a:r>
              <a:rPr lang="en-IN" sz="1800" dirty="0"/>
              <a:t>Packet Type : </a:t>
            </a:r>
          </a:p>
          <a:p>
            <a:pPr lvl="1"/>
            <a:r>
              <a:rPr lang="en-IN" sz="1600" dirty="0"/>
              <a:t>NR: Normal</a:t>
            </a:r>
          </a:p>
          <a:p>
            <a:pPr lvl="1"/>
            <a:r>
              <a:rPr lang="en-IN" sz="1600" dirty="0"/>
              <a:t>EA: Emergency Alert</a:t>
            </a:r>
          </a:p>
          <a:p>
            <a:pPr lvl="1"/>
            <a:r>
              <a:rPr lang="en-IN" sz="1600" dirty="0"/>
              <a:t>HP: Health Packet</a:t>
            </a:r>
          </a:p>
          <a:p>
            <a:pPr lvl="1"/>
            <a:r>
              <a:rPr lang="en-IN" sz="1600" dirty="0"/>
              <a:t>IN,IF: Ignition On and Off</a:t>
            </a:r>
          </a:p>
          <a:p>
            <a:pPr lvl="1"/>
            <a:r>
              <a:rPr lang="en-IN" sz="1600" dirty="0"/>
              <a:t>TA: Temper Alert</a:t>
            </a:r>
          </a:p>
          <a:p>
            <a:pPr lvl="1"/>
            <a:r>
              <a:rPr lang="en-IN" sz="1600" dirty="0"/>
              <a:t>BD, BR: Battery Disconnected/  Reconnected</a:t>
            </a:r>
          </a:p>
          <a:p>
            <a:pPr lvl="1"/>
            <a:r>
              <a:rPr lang="en-IN" sz="1600" dirty="0"/>
              <a:t>BL: Battery Low</a:t>
            </a:r>
          </a:p>
          <a:p>
            <a:pPr lvl="1"/>
            <a:r>
              <a:rPr lang="en-IN" sz="1600" dirty="0"/>
              <a:t>TS, TE:  Trip Start and Trip End</a:t>
            </a:r>
          </a:p>
          <a:p>
            <a:pPr lvl="1"/>
            <a:r>
              <a:rPr lang="en-IN" sz="1600" dirty="0"/>
              <a:t>HA,HB,RT: Harsh Acceleration, Break, Rash Turn</a:t>
            </a:r>
          </a:p>
          <a:p>
            <a:r>
              <a:rPr lang="en-IN" sz="1800" dirty="0"/>
              <a:t>Packet Status: </a:t>
            </a:r>
          </a:p>
          <a:p>
            <a:pPr lvl="1"/>
            <a:r>
              <a:rPr lang="en-IN" sz="1600" dirty="0"/>
              <a:t>L: Live</a:t>
            </a:r>
          </a:p>
          <a:p>
            <a:pPr lvl="1"/>
            <a:r>
              <a:rPr lang="en-IN" sz="1600" dirty="0"/>
              <a:t>H: History</a:t>
            </a:r>
          </a:p>
          <a:p>
            <a:endParaRPr lang="en-IN" sz="1824" dirty="0"/>
          </a:p>
        </p:txBody>
      </p:sp>
      <p:sp>
        <p:nvSpPr>
          <p:cNvPr id="4" name="Content Placeholder 3">
            <a:extLst>
              <a:ext uri="{FF2B5EF4-FFF2-40B4-BE49-F238E27FC236}">
                <a16:creationId xmlns:a16="http://schemas.microsoft.com/office/drawing/2014/main" id="{71839D7B-4B9A-4FF9-B77F-510084CF5D31}"/>
              </a:ext>
            </a:extLst>
          </p:cNvPr>
          <p:cNvSpPr>
            <a:spLocks noGrp="1"/>
          </p:cNvSpPr>
          <p:nvPr>
            <p:ph sz="half" idx="2"/>
          </p:nvPr>
        </p:nvSpPr>
        <p:spPr/>
        <p:txBody>
          <a:bodyPr/>
          <a:lstStyle/>
          <a:p>
            <a:r>
              <a:rPr lang="en-IN" sz="1800" dirty="0"/>
              <a:t>IMEI</a:t>
            </a:r>
          </a:p>
          <a:p>
            <a:pPr lvl="1"/>
            <a:r>
              <a:rPr lang="en-IN" sz="1600" dirty="0"/>
              <a:t>15 Numeric</a:t>
            </a:r>
          </a:p>
          <a:p>
            <a:r>
              <a:rPr lang="en-IN" sz="1800" dirty="0"/>
              <a:t>Latitude</a:t>
            </a:r>
          </a:p>
          <a:p>
            <a:pPr lvl="1"/>
            <a:r>
              <a:rPr lang="en-IN" sz="1576" dirty="0"/>
              <a:t>Float</a:t>
            </a:r>
          </a:p>
          <a:p>
            <a:r>
              <a:rPr lang="en-IN" sz="1800" dirty="0"/>
              <a:t>Longitude</a:t>
            </a:r>
          </a:p>
          <a:p>
            <a:pPr lvl="1"/>
            <a:r>
              <a:rPr lang="en-IN" sz="1600" dirty="0"/>
              <a:t>Float</a:t>
            </a:r>
          </a:p>
          <a:p>
            <a:r>
              <a:rPr lang="en-IN" sz="1800" dirty="0"/>
              <a:t>Date Time</a:t>
            </a:r>
          </a:p>
          <a:p>
            <a:pPr lvl="1"/>
            <a:r>
              <a:rPr lang="en-IN" sz="1600" dirty="0"/>
              <a:t>Valid</a:t>
            </a:r>
          </a:p>
          <a:p>
            <a:r>
              <a:rPr lang="en-IN" sz="1800" dirty="0"/>
              <a:t>PDOP</a:t>
            </a:r>
          </a:p>
          <a:p>
            <a:pPr lvl="1"/>
            <a:r>
              <a:rPr lang="en-IN" sz="1576" dirty="0"/>
              <a:t>Numeric and &lt; 10</a:t>
            </a:r>
          </a:p>
          <a:p>
            <a:r>
              <a:rPr lang="en-IN" sz="1800" dirty="0"/>
              <a:t>Temper Alert</a:t>
            </a:r>
          </a:p>
          <a:p>
            <a:pPr lvl="1"/>
            <a:r>
              <a:rPr lang="en-IN" sz="1576" dirty="0"/>
              <a:t>C or O else put N</a:t>
            </a:r>
          </a:p>
          <a:p>
            <a:pPr lvl="1"/>
            <a:endParaRPr lang="en-IN" sz="1600" dirty="0"/>
          </a:p>
          <a:p>
            <a:endParaRPr lang="en-IN" sz="1800" dirty="0"/>
          </a:p>
          <a:p>
            <a:endParaRPr lang="en-IN" sz="1800" dirty="0"/>
          </a:p>
        </p:txBody>
      </p:sp>
      <p:sp>
        <p:nvSpPr>
          <p:cNvPr id="3" name="Title 2">
            <a:extLst>
              <a:ext uri="{FF2B5EF4-FFF2-40B4-BE49-F238E27FC236}">
                <a16:creationId xmlns:a16="http://schemas.microsoft.com/office/drawing/2014/main" id="{60BC24F0-E5B3-49B8-AE58-89A7F259B5F7}"/>
              </a:ext>
            </a:extLst>
          </p:cNvPr>
          <p:cNvSpPr>
            <a:spLocks noGrp="1"/>
          </p:cNvSpPr>
          <p:nvPr>
            <p:ph type="title"/>
          </p:nvPr>
        </p:nvSpPr>
        <p:spPr/>
        <p:txBody>
          <a:bodyPr/>
          <a:lstStyle/>
          <a:p>
            <a:r>
              <a:rPr lang="en-IN" dirty="0"/>
              <a:t>Data Validations</a:t>
            </a:r>
          </a:p>
        </p:txBody>
      </p:sp>
    </p:spTree>
    <p:extLst>
      <p:ext uri="{BB962C8B-B14F-4D97-AF65-F5344CB8AC3E}">
        <p14:creationId xmlns:p14="http://schemas.microsoft.com/office/powerpoint/2010/main" val="2830600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C8CFCD-2038-4AA8-83FE-C74DEC360F8E}"/>
              </a:ext>
            </a:extLst>
          </p:cNvPr>
          <p:cNvSpPr>
            <a:spLocks noGrp="1"/>
          </p:cNvSpPr>
          <p:nvPr>
            <p:ph type="title"/>
          </p:nvPr>
        </p:nvSpPr>
        <p:spPr/>
        <p:txBody>
          <a:bodyPr/>
          <a:lstStyle/>
          <a:p>
            <a:r>
              <a:rPr lang="en-IN" dirty="0"/>
              <a:t>VTS Data Output Format</a:t>
            </a:r>
          </a:p>
        </p:txBody>
      </p:sp>
      <p:graphicFrame>
        <p:nvGraphicFramePr>
          <p:cNvPr id="11" name="Table 10">
            <a:extLst>
              <a:ext uri="{FF2B5EF4-FFF2-40B4-BE49-F238E27FC236}">
                <a16:creationId xmlns:a16="http://schemas.microsoft.com/office/drawing/2014/main" id="{C281D962-B7BC-45DA-B2B9-D365360CB92A}"/>
              </a:ext>
            </a:extLst>
          </p:cNvPr>
          <p:cNvGraphicFramePr>
            <a:graphicFrameLocks noGrp="1"/>
          </p:cNvGraphicFramePr>
          <p:nvPr>
            <p:extLst>
              <p:ext uri="{D42A27DB-BD31-4B8C-83A1-F6EECF244321}">
                <p14:modId xmlns:p14="http://schemas.microsoft.com/office/powerpoint/2010/main" val="990758235"/>
              </p:ext>
            </p:extLst>
          </p:nvPr>
        </p:nvGraphicFramePr>
        <p:xfrm>
          <a:off x="543896" y="849961"/>
          <a:ext cx="6172963" cy="448818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341419740"/>
                    </a:ext>
                  </a:extLst>
                </a:gridCol>
                <a:gridCol w="1002983">
                  <a:extLst>
                    <a:ext uri="{9D8B030D-6E8A-4147-A177-3AD203B41FA5}">
                      <a16:colId xmlns:a16="http://schemas.microsoft.com/office/drawing/2014/main" val="2688028292"/>
                    </a:ext>
                  </a:extLst>
                </a:gridCol>
                <a:gridCol w="648780">
                  <a:extLst>
                    <a:ext uri="{9D8B030D-6E8A-4147-A177-3AD203B41FA5}">
                      <a16:colId xmlns:a16="http://schemas.microsoft.com/office/drawing/2014/main" val="601962605"/>
                    </a:ext>
                  </a:extLst>
                </a:gridCol>
                <a:gridCol w="4013200">
                  <a:extLst>
                    <a:ext uri="{9D8B030D-6E8A-4147-A177-3AD203B41FA5}">
                      <a16:colId xmlns:a16="http://schemas.microsoft.com/office/drawing/2014/main" val="3140884834"/>
                    </a:ext>
                  </a:extLst>
                </a:gridCol>
              </a:tblGrid>
              <a:tr h="464820">
                <a:tc>
                  <a:txBody>
                    <a:bodyPr/>
                    <a:lstStyle/>
                    <a:p>
                      <a:pPr algn="l" rtl="0" fontAlgn="ctr"/>
                      <a:r>
                        <a:rPr lang="en-IN" sz="1400" u="none" strike="noStrike">
                          <a:effectLst/>
                        </a:rPr>
                        <a:t>Sr. No</a:t>
                      </a:r>
                      <a:endParaRPr lang="en-IN" sz="1400" b="1" i="0" u="none" strike="noStrike">
                        <a:solidFill>
                          <a:srgbClr val="FFFFFF"/>
                        </a:solidFill>
                        <a:effectLst/>
                        <a:latin typeface="Calibri" panose="020F0502020204030204" pitchFamily="34" charset="0"/>
                      </a:endParaRPr>
                    </a:p>
                  </a:txBody>
                  <a:tcPr marL="7620" marR="7620" marT="7620" marB="0" anchor="ctr"/>
                </a:tc>
                <a:tc>
                  <a:txBody>
                    <a:bodyPr/>
                    <a:lstStyle/>
                    <a:p>
                      <a:pPr algn="l" rtl="0" fontAlgn="ctr"/>
                      <a:r>
                        <a:rPr lang="en-IN" sz="1400" u="none" strike="noStrike">
                          <a:effectLst/>
                        </a:rPr>
                        <a:t>Data</a:t>
                      </a:r>
                      <a:endParaRPr lang="en-IN" sz="1400" b="1" i="0" u="none" strike="noStrike">
                        <a:solidFill>
                          <a:srgbClr val="FFFFFF"/>
                        </a:solidFill>
                        <a:effectLst/>
                        <a:latin typeface="Calibri" panose="020F0502020204030204" pitchFamily="34" charset="0"/>
                      </a:endParaRPr>
                    </a:p>
                  </a:txBody>
                  <a:tcPr marL="7620" marR="7620" marT="7620" marB="0" anchor="ctr"/>
                </a:tc>
                <a:tc>
                  <a:txBody>
                    <a:bodyPr/>
                    <a:lstStyle/>
                    <a:p>
                      <a:pPr algn="l" rtl="0" fontAlgn="ctr"/>
                      <a:r>
                        <a:rPr lang="en-IN" sz="1400" u="none" strike="noStrike">
                          <a:effectLst/>
                        </a:rPr>
                        <a:t>Type</a:t>
                      </a:r>
                      <a:endParaRPr lang="en-IN" sz="1400" b="1" i="0" u="none" strike="noStrike">
                        <a:solidFill>
                          <a:srgbClr val="FFFFFF"/>
                        </a:solidFill>
                        <a:effectLst/>
                        <a:latin typeface="Calibri" panose="020F0502020204030204" pitchFamily="34" charset="0"/>
                      </a:endParaRPr>
                    </a:p>
                  </a:txBody>
                  <a:tcPr marL="7620" marR="7620" marT="7620" marB="0" anchor="ctr"/>
                </a:tc>
                <a:tc>
                  <a:txBody>
                    <a:bodyPr/>
                    <a:lstStyle/>
                    <a:p>
                      <a:pPr algn="l" rtl="0" fontAlgn="ctr"/>
                      <a:r>
                        <a:rPr lang="en-IN" sz="1400" u="none" strike="noStrike">
                          <a:effectLst/>
                        </a:rPr>
                        <a:t>Comments</a:t>
                      </a:r>
                      <a:endParaRPr lang="en-IN" sz="1400" b="1" i="0" u="none" strike="noStrike">
                        <a:solidFill>
                          <a:srgbClr val="FFFFFF"/>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495438132"/>
                  </a:ext>
                </a:extLst>
              </a:tr>
              <a:tr h="213360">
                <a:tc>
                  <a:txBody>
                    <a:bodyPr/>
                    <a:lstStyle/>
                    <a:p>
                      <a:pPr algn="l" rtl="0" fontAlgn="ctr"/>
                      <a:r>
                        <a:rPr lang="en-IN" sz="1200" u="none" strike="noStrike">
                          <a:effectLst/>
                        </a:rPr>
                        <a:t>1</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IMEI</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evice Identification</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31312806"/>
                  </a:ext>
                </a:extLst>
              </a:tr>
              <a:tr h="205740">
                <a:tc>
                  <a:txBody>
                    <a:bodyPr/>
                    <a:lstStyle/>
                    <a:p>
                      <a:pPr algn="l" rtl="0" fontAlgn="ctr"/>
                      <a:r>
                        <a:rPr lang="en-IN" sz="1200" u="none" strike="noStrike">
                          <a:effectLst/>
                        </a:rPr>
                        <a:t>2</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VendorID</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evice Supplier</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75810356"/>
                  </a:ext>
                </a:extLst>
              </a:tr>
              <a:tr h="205740">
                <a:tc>
                  <a:txBody>
                    <a:bodyPr/>
                    <a:lstStyle/>
                    <a:p>
                      <a:pPr algn="l" rtl="0" fontAlgn="ctr"/>
                      <a:r>
                        <a:rPr lang="en-IN" sz="1200" u="none" strike="noStrike">
                          <a:effectLst/>
                        </a:rPr>
                        <a:t>3</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VehicleNumber</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Vehicle Registration Number</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41079400"/>
                  </a:ext>
                </a:extLst>
              </a:tr>
              <a:tr h="205740">
                <a:tc>
                  <a:txBody>
                    <a:bodyPr/>
                    <a:lstStyle/>
                    <a:p>
                      <a:pPr algn="l" rtl="0" fontAlgn="ctr"/>
                      <a:r>
                        <a:rPr lang="en-IN" sz="1200" u="none" strike="noStrike">
                          <a:effectLst/>
                        </a:rPr>
                        <a:t>4</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MNO</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Operator Name</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83142616"/>
                  </a:ext>
                </a:extLst>
              </a:tr>
              <a:tr h="205740">
                <a:tc>
                  <a:txBody>
                    <a:bodyPr/>
                    <a:lstStyle/>
                    <a:p>
                      <a:pPr algn="l" rtl="0" fontAlgn="ctr"/>
                      <a:r>
                        <a:rPr lang="en-IN" sz="1200" u="none" strike="noStrike">
                          <a:effectLst/>
                        </a:rPr>
                        <a:t>5</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MC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Operator Country Code</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52448212"/>
                  </a:ext>
                </a:extLst>
              </a:tr>
              <a:tr h="205740">
                <a:tc>
                  <a:txBody>
                    <a:bodyPr/>
                    <a:lstStyle/>
                    <a:p>
                      <a:pPr algn="l" rtl="0" fontAlgn="ctr"/>
                      <a:r>
                        <a:rPr lang="en-IN" sz="1200" u="none" strike="noStrike">
                          <a:effectLst/>
                        </a:rPr>
                        <a:t>6</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MN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Operator Code</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900028255"/>
                  </a:ext>
                </a:extLst>
              </a:tr>
              <a:tr h="198120">
                <a:tc>
                  <a:txBody>
                    <a:bodyPr/>
                    <a:lstStyle/>
                    <a:p>
                      <a:pPr algn="l" rtl="0" fontAlgn="ctr"/>
                      <a:r>
                        <a:rPr lang="en-IN" sz="1200" u="none" strike="noStrike">
                          <a:effectLst/>
                        </a:rPr>
                        <a:t>7</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LA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US" sz="1200" u="none" strike="noStrike">
                          <a:effectLst/>
                        </a:rPr>
                        <a:t>Location Code of Cell tower</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297524154"/>
                  </a:ext>
                </a:extLst>
              </a:tr>
              <a:tr h="198120">
                <a:tc>
                  <a:txBody>
                    <a:bodyPr/>
                    <a:lstStyle/>
                    <a:p>
                      <a:pPr algn="l" rtl="0" fontAlgn="ctr"/>
                      <a:r>
                        <a:rPr lang="en-IN" sz="1200" u="none" strike="noStrike">
                          <a:effectLst/>
                        </a:rPr>
                        <a:t>8</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CellID</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Tower ID</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690186504"/>
                  </a:ext>
                </a:extLst>
              </a:tr>
              <a:tr h="198120">
                <a:tc>
                  <a:txBody>
                    <a:bodyPr/>
                    <a:lstStyle/>
                    <a:p>
                      <a:pPr algn="l" rtl="0" fontAlgn="ctr"/>
                      <a:r>
                        <a:rPr lang="en-IN" sz="1200" u="none" strike="noStrike">
                          <a:effectLst/>
                        </a:rPr>
                        <a:t>9</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PacketType</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ormal, Emergency, Health, Ignition..</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548698051"/>
                  </a:ext>
                </a:extLst>
              </a:tr>
              <a:tr h="198120">
                <a:tc>
                  <a:txBody>
                    <a:bodyPr/>
                    <a:lstStyle/>
                    <a:p>
                      <a:pPr algn="l" rtl="0" fontAlgn="ctr"/>
                      <a:r>
                        <a:rPr lang="en-IN" sz="1200" u="none" strike="noStrike">
                          <a:effectLst/>
                        </a:rPr>
                        <a:t>10</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PacketStatus</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Live or History</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98444362"/>
                  </a:ext>
                </a:extLst>
              </a:tr>
              <a:tr h="198120">
                <a:tc>
                  <a:txBody>
                    <a:bodyPr/>
                    <a:lstStyle/>
                    <a:p>
                      <a:pPr algn="l" rtl="0" fontAlgn="ctr"/>
                      <a:r>
                        <a:rPr lang="en-IN" sz="1200" u="none" strike="noStrike">
                          <a:effectLst/>
                        </a:rPr>
                        <a:t>11</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ateTime</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ateTime</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Packet Generated Date Time</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542406"/>
                  </a:ext>
                </a:extLst>
              </a:tr>
              <a:tr h="198120">
                <a:tc>
                  <a:txBody>
                    <a:bodyPr/>
                    <a:lstStyle/>
                    <a:p>
                      <a:pPr algn="l" rtl="0" fontAlgn="ctr"/>
                      <a:r>
                        <a:rPr lang="en-IN" sz="1200" u="none" strike="noStrike">
                          <a:effectLst/>
                        </a:rPr>
                        <a:t>12</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GPSFix</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s-ES" sz="1200" u="none" strike="noStrike">
                          <a:effectLst/>
                        </a:rPr>
                        <a:t>1 (No Error) and 0(Error)</a:t>
                      </a:r>
                      <a:endParaRPr lang="es-E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5473866"/>
                  </a:ext>
                </a:extLst>
              </a:tr>
              <a:tr h="198120">
                <a:tc>
                  <a:txBody>
                    <a:bodyPr/>
                    <a:lstStyle/>
                    <a:p>
                      <a:pPr algn="l" rtl="0" fontAlgn="ctr"/>
                      <a:r>
                        <a:rPr lang="en-IN" sz="1200" u="none" strike="noStrike">
                          <a:effectLst/>
                        </a:rPr>
                        <a:t>13</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Lat</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Accuracy of 7 digits</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655177734"/>
                  </a:ext>
                </a:extLst>
              </a:tr>
              <a:tr h="198120">
                <a:tc>
                  <a:txBody>
                    <a:bodyPr/>
                    <a:lstStyle/>
                    <a:p>
                      <a:pPr algn="l" rtl="0" fontAlgn="ctr"/>
                      <a:r>
                        <a:rPr lang="en-IN" sz="1200" u="none" strike="noStrike">
                          <a:effectLst/>
                        </a:rPr>
                        <a:t>14</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LatDir</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S Direction</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99603954"/>
                  </a:ext>
                </a:extLst>
              </a:tr>
              <a:tr h="198120">
                <a:tc>
                  <a:txBody>
                    <a:bodyPr/>
                    <a:lstStyle/>
                    <a:p>
                      <a:pPr algn="l" rtl="0" fontAlgn="ctr"/>
                      <a:r>
                        <a:rPr lang="en-IN" sz="1200" u="none" strike="noStrike">
                          <a:effectLst/>
                        </a:rPr>
                        <a:t>15</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Lon</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Accuracy of 7 digits</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238122557"/>
                  </a:ext>
                </a:extLst>
              </a:tr>
              <a:tr h="198120">
                <a:tc>
                  <a:txBody>
                    <a:bodyPr/>
                    <a:lstStyle/>
                    <a:p>
                      <a:pPr algn="l" rtl="0" fontAlgn="ctr"/>
                      <a:r>
                        <a:rPr lang="en-IN" sz="1200" u="none" strike="noStrike">
                          <a:effectLst/>
                        </a:rPr>
                        <a:t>16</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LonDir</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E/W Direction</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927161071"/>
                  </a:ext>
                </a:extLst>
              </a:tr>
              <a:tr h="198120">
                <a:tc>
                  <a:txBody>
                    <a:bodyPr/>
                    <a:lstStyle/>
                    <a:p>
                      <a:pPr algn="l" rtl="0" fontAlgn="ctr"/>
                      <a:r>
                        <a:rPr lang="en-IN" sz="1200" u="none" strike="noStrike">
                          <a:effectLst/>
                        </a:rPr>
                        <a:t>17</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InstSpeed</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Instantaneous Speed</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57810644"/>
                  </a:ext>
                </a:extLst>
              </a:tr>
              <a:tr h="198120">
                <a:tc>
                  <a:txBody>
                    <a:bodyPr/>
                    <a:lstStyle/>
                    <a:p>
                      <a:pPr algn="l" rtl="0" fontAlgn="ctr"/>
                      <a:r>
                        <a:rPr lang="en-IN" sz="1200" u="none" strike="noStrike">
                          <a:effectLst/>
                        </a:rPr>
                        <a:t>18</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Head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rection in degrees</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137650699"/>
                  </a:ext>
                </a:extLst>
              </a:tr>
              <a:tr h="198120">
                <a:tc>
                  <a:txBody>
                    <a:bodyPr/>
                    <a:lstStyle/>
                    <a:p>
                      <a:pPr algn="l" rtl="0" fontAlgn="ctr"/>
                      <a:r>
                        <a:rPr lang="en-IN" sz="1200" u="none" strike="noStrike">
                          <a:effectLst/>
                        </a:rPr>
                        <a:t>19</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Altitude</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Hight of the vehicle</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382317102"/>
                  </a:ext>
                </a:extLst>
              </a:tr>
              <a:tr h="205740">
                <a:tc>
                  <a:txBody>
                    <a:bodyPr/>
                    <a:lstStyle/>
                    <a:p>
                      <a:pPr algn="l" rtl="0" fontAlgn="ctr"/>
                      <a:r>
                        <a:rPr lang="en-IN" sz="1200" u="none" strike="noStrike">
                          <a:effectLst/>
                        </a:rPr>
                        <a:t>20</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PDOP</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US" sz="1200" u="none" strike="noStrike" dirty="0">
                          <a:effectLst/>
                        </a:rPr>
                        <a:t>Goodness of GPS, normally &lt;7 and Good accuracy means &lt; 4</a:t>
                      </a:r>
                      <a:endParaRPr lang="en-US" sz="12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769219947"/>
                  </a:ext>
                </a:extLst>
              </a:tr>
            </a:tbl>
          </a:graphicData>
        </a:graphic>
      </p:graphicFrame>
      <p:graphicFrame>
        <p:nvGraphicFramePr>
          <p:cNvPr id="12" name="Table 11">
            <a:extLst>
              <a:ext uri="{FF2B5EF4-FFF2-40B4-BE49-F238E27FC236}">
                <a16:creationId xmlns:a16="http://schemas.microsoft.com/office/drawing/2014/main" id="{3E3BEE00-11E7-42F9-A85C-EE5DD60CBBE5}"/>
              </a:ext>
            </a:extLst>
          </p:cNvPr>
          <p:cNvGraphicFramePr>
            <a:graphicFrameLocks noGrp="1"/>
          </p:cNvGraphicFramePr>
          <p:nvPr>
            <p:extLst>
              <p:ext uri="{D42A27DB-BD31-4B8C-83A1-F6EECF244321}">
                <p14:modId xmlns:p14="http://schemas.microsoft.com/office/powerpoint/2010/main" val="777910483"/>
              </p:ext>
            </p:extLst>
          </p:nvPr>
        </p:nvGraphicFramePr>
        <p:xfrm>
          <a:off x="6795407" y="849961"/>
          <a:ext cx="5213091" cy="3406140"/>
        </p:xfrm>
        <a:graphic>
          <a:graphicData uri="http://schemas.openxmlformats.org/drawingml/2006/table">
            <a:tbl>
              <a:tblPr firstRow="1" bandRow="1">
                <a:tableStyleId>{5C22544A-7EE6-4342-B048-85BDC9FD1C3A}</a:tableStyleId>
              </a:tblPr>
              <a:tblGrid>
                <a:gridCol w="398310">
                  <a:extLst>
                    <a:ext uri="{9D8B030D-6E8A-4147-A177-3AD203B41FA5}">
                      <a16:colId xmlns:a16="http://schemas.microsoft.com/office/drawing/2014/main" val="2289698107"/>
                    </a:ext>
                  </a:extLst>
                </a:gridCol>
                <a:gridCol w="1120931">
                  <a:extLst>
                    <a:ext uri="{9D8B030D-6E8A-4147-A177-3AD203B41FA5}">
                      <a16:colId xmlns:a16="http://schemas.microsoft.com/office/drawing/2014/main" val="1253160219"/>
                    </a:ext>
                  </a:extLst>
                </a:gridCol>
                <a:gridCol w="547199">
                  <a:extLst>
                    <a:ext uri="{9D8B030D-6E8A-4147-A177-3AD203B41FA5}">
                      <a16:colId xmlns:a16="http://schemas.microsoft.com/office/drawing/2014/main" val="1274671944"/>
                    </a:ext>
                  </a:extLst>
                </a:gridCol>
                <a:gridCol w="3146651">
                  <a:extLst>
                    <a:ext uri="{9D8B030D-6E8A-4147-A177-3AD203B41FA5}">
                      <a16:colId xmlns:a16="http://schemas.microsoft.com/office/drawing/2014/main" val="4252333458"/>
                    </a:ext>
                  </a:extLst>
                </a:gridCol>
              </a:tblGrid>
              <a:tr h="449580">
                <a:tc>
                  <a:txBody>
                    <a:bodyPr/>
                    <a:lstStyle/>
                    <a:p>
                      <a:pPr algn="l" rtl="0" fontAlgn="ctr"/>
                      <a:r>
                        <a:rPr lang="en-IN" sz="1400" u="none" strike="noStrike">
                          <a:effectLst/>
                        </a:rPr>
                        <a:t>Sr. No</a:t>
                      </a:r>
                      <a:endParaRPr lang="en-IN" sz="1400" b="1" i="0" u="none" strike="noStrike">
                        <a:solidFill>
                          <a:srgbClr val="FFFFFF"/>
                        </a:solidFill>
                        <a:effectLst/>
                        <a:latin typeface="Calibri" panose="020F0502020204030204" pitchFamily="34" charset="0"/>
                      </a:endParaRPr>
                    </a:p>
                  </a:txBody>
                  <a:tcPr marL="7620" marR="7620" marT="7620" marB="0" anchor="ctr"/>
                </a:tc>
                <a:tc>
                  <a:txBody>
                    <a:bodyPr/>
                    <a:lstStyle/>
                    <a:p>
                      <a:pPr algn="l" rtl="0" fontAlgn="ctr"/>
                      <a:r>
                        <a:rPr lang="en-IN" sz="1400" u="none" strike="noStrike">
                          <a:effectLst/>
                        </a:rPr>
                        <a:t>Data</a:t>
                      </a:r>
                      <a:endParaRPr lang="en-IN" sz="1400" b="1" i="0" u="none" strike="noStrike">
                        <a:solidFill>
                          <a:srgbClr val="FFFFFF"/>
                        </a:solidFill>
                        <a:effectLst/>
                        <a:latin typeface="Calibri" panose="020F0502020204030204" pitchFamily="34" charset="0"/>
                      </a:endParaRPr>
                    </a:p>
                  </a:txBody>
                  <a:tcPr marL="7620" marR="7620" marT="7620" marB="0" anchor="ctr"/>
                </a:tc>
                <a:tc>
                  <a:txBody>
                    <a:bodyPr/>
                    <a:lstStyle/>
                    <a:p>
                      <a:pPr algn="l" rtl="0" fontAlgn="ctr"/>
                      <a:r>
                        <a:rPr lang="en-IN" sz="1400" u="none" strike="noStrike">
                          <a:effectLst/>
                        </a:rPr>
                        <a:t>Type</a:t>
                      </a:r>
                      <a:endParaRPr lang="en-IN" sz="1400" b="1" i="0" u="none" strike="noStrike">
                        <a:solidFill>
                          <a:srgbClr val="FFFFFF"/>
                        </a:solidFill>
                        <a:effectLst/>
                        <a:latin typeface="Calibri" panose="020F0502020204030204" pitchFamily="34" charset="0"/>
                      </a:endParaRPr>
                    </a:p>
                  </a:txBody>
                  <a:tcPr marL="7620" marR="7620" marT="7620" marB="0" anchor="ctr"/>
                </a:tc>
                <a:tc>
                  <a:txBody>
                    <a:bodyPr/>
                    <a:lstStyle/>
                    <a:p>
                      <a:pPr algn="l" rtl="0" fontAlgn="ctr"/>
                      <a:r>
                        <a:rPr lang="en-IN" sz="1400" u="none" strike="noStrike">
                          <a:effectLst/>
                        </a:rPr>
                        <a:t>Comments</a:t>
                      </a:r>
                      <a:endParaRPr lang="en-IN" sz="1400" b="1" i="0" u="none" strike="noStrike">
                        <a:solidFill>
                          <a:srgbClr val="FFFFFF"/>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9918195"/>
                  </a:ext>
                </a:extLst>
              </a:tr>
              <a:tr h="205740">
                <a:tc>
                  <a:txBody>
                    <a:bodyPr/>
                    <a:lstStyle/>
                    <a:p>
                      <a:pPr algn="l" rtl="0" fontAlgn="ctr"/>
                      <a:r>
                        <a:rPr lang="en-IN" sz="1200" u="none" strike="noStrike">
                          <a:effectLst/>
                        </a:rPr>
                        <a:t>21</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Ignition </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1 (On) 0 (off)</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4169415586"/>
                  </a:ext>
                </a:extLst>
              </a:tr>
              <a:tr h="198120">
                <a:tc>
                  <a:txBody>
                    <a:bodyPr/>
                    <a:lstStyle/>
                    <a:p>
                      <a:pPr algn="l" rtl="0" fontAlgn="ctr"/>
                      <a:r>
                        <a:rPr lang="en-IN" sz="1200" u="none" strike="noStrike">
                          <a:effectLst/>
                        </a:rPr>
                        <a:t>22</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MainPowerStatus</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Disconnected) 1 (Connected)</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498899616"/>
                  </a:ext>
                </a:extLst>
              </a:tr>
              <a:tr h="198120">
                <a:tc>
                  <a:txBody>
                    <a:bodyPr/>
                    <a:lstStyle/>
                    <a:p>
                      <a:pPr algn="l" rtl="0" fontAlgn="ctr"/>
                      <a:r>
                        <a:rPr lang="en-IN" sz="1200" u="none" strike="noStrike">
                          <a:effectLst/>
                        </a:rPr>
                        <a:t>23</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EmergencyStatus</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US" sz="1200" u="none" strike="noStrike">
                          <a:effectLst/>
                        </a:rPr>
                        <a:t>&lt; 0 (Missing) 0 (Normal) 1 (Emergency)</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343649232"/>
                  </a:ext>
                </a:extLst>
              </a:tr>
              <a:tr h="198120">
                <a:tc>
                  <a:txBody>
                    <a:bodyPr/>
                    <a:lstStyle/>
                    <a:p>
                      <a:pPr algn="l" rtl="0" fontAlgn="ctr"/>
                      <a:r>
                        <a:rPr lang="en-IN" sz="1200" u="none" strike="noStrike">
                          <a:effectLst/>
                        </a:rPr>
                        <a:t>24</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TemperAlert</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String</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US" sz="1200" u="none" strike="noStrike">
                          <a:effectLst/>
                        </a:rPr>
                        <a:t>C (Cover Closed), O (Open)</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10425395"/>
                  </a:ext>
                </a:extLst>
              </a:tr>
              <a:tr h="198120">
                <a:tc>
                  <a:txBody>
                    <a:bodyPr/>
                    <a:lstStyle/>
                    <a:p>
                      <a:pPr algn="l" rtl="0" fontAlgn="ctr"/>
                      <a:r>
                        <a:rPr lang="en-IN" sz="1200" u="none" strike="noStrike">
                          <a:effectLst/>
                        </a:rPr>
                        <a:t>25</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GPSSignalStrength</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US" sz="1200" u="none" strike="noStrike">
                          <a:effectLst/>
                        </a:rPr>
                        <a:t>Can be used to decide on struct on GPS data</a:t>
                      </a:r>
                      <a:endParaRPr lang="en-US"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441131873"/>
                  </a:ext>
                </a:extLst>
              </a:tr>
              <a:tr h="198120">
                <a:tc>
                  <a:txBody>
                    <a:bodyPr/>
                    <a:lstStyle/>
                    <a:p>
                      <a:pPr algn="l" rtl="0" fontAlgn="ctr"/>
                      <a:r>
                        <a:rPr lang="en-IN" sz="1200" u="none" strike="noStrike">
                          <a:effectLst/>
                        </a:rPr>
                        <a:t>26</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Input1</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53116651"/>
                  </a:ext>
                </a:extLst>
              </a:tr>
              <a:tr h="198120">
                <a:tc>
                  <a:txBody>
                    <a:bodyPr/>
                    <a:lstStyle/>
                    <a:p>
                      <a:pPr algn="l" rtl="0" fontAlgn="ctr"/>
                      <a:r>
                        <a:rPr lang="en-IN" sz="1200" u="none" strike="noStrike">
                          <a:effectLst/>
                        </a:rPr>
                        <a:t>27</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Input2</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617135274"/>
                  </a:ext>
                </a:extLst>
              </a:tr>
              <a:tr h="198120">
                <a:tc>
                  <a:txBody>
                    <a:bodyPr/>
                    <a:lstStyle/>
                    <a:p>
                      <a:pPr algn="l" rtl="0" fontAlgn="ctr"/>
                      <a:r>
                        <a:rPr lang="en-IN" sz="1200" u="none" strike="noStrike">
                          <a:effectLst/>
                        </a:rPr>
                        <a:t>28</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Input3</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795376188"/>
                  </a:ext>
                </a:extLst>
              </a:tr>
              <a:tr h="198120">
                <a:tc>
                  <a:txBody>
                    <a:bodyPr/>
                    <a:lstStyle/>
                    <a:p>
                      <a:pPr algn="l" rtl="0" fontAlgn="ctr"/>
                      <a:r>
                        <a:rPr lang="en-IN" sz="1200" u="none" strike="noStrike">
                          <a:effectLst/>
                        </a:rPr>
                        <a:t>29</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Input4</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835819260"/>
                  </a:ext>
                </a:extLst>
              </a:tr>
              <a:tr h="198120">
                <a:tc>
                  <a:txBody>
                    <a:bodyPr/>
                    <a:lstStyle/>
                    <a:p>
                      <a:pPr algn="l" rtl="0" fontAlgn="ctr"/>
                      <a:r>
                        <a:rPr lang="en-IN" sz="1200" u="none" strike="noStrike">
                          <a:effectLst/>
                        </a:rPr>
                        <a:t>30</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Output1</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192855094"/>
                  </a:ext>
                </a:extLst>
              </a:tr>
              <a:tr h="198120">
                <a:tc>
                  <a:txBody>
                    <a:bodyPr/>
                    <a:lstStyle/>
                    <a:p>
                      <a:pPr algn="l" rtl="0" fontAlgn="ctr"/>
                      <a:r>
                        <a:rPr lang="en-IN" sz="1200" u="none" strike="noStrike">
                          <a:effectLst/>
                        </a:rPr>
                        <a:t>31</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Output2</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428798316"/>
                  </a:ext>
                </a:extLst>
              </a:tr>
              <a:tr h="198120">
                <a:tc>
                  <a:txBody>
                    <a:bodyPr/>
                    <a:lstStyle/>
                    <a:p>
                      <a:pPr algn="l" rtl="0" fontAlgn="ctr"/>
                      <a:r>
                        <a:rPr lang="en-IN" sz="1200" u="none" strike="noStrike">
                          <a:effectLst/>
                        </a:rPr>
                        <a:t>32</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Output3</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019914367"/>
                  </a:ext>
                </a:extLst>
              </a:tr>
              <a:tr h="198120">
                <a:tc>
                  <a:txBody>
                    <a:bodyPr/>
                    <a:lstStyle/>
                    <a:p>
                      <a:pPr algn="l" rtl="0" fontAlgn="ctr"/>
                      <a:r>
                        <a:rPr lang="en-IN" sz="1200" u="none" strike="noStrike">
                          <a:effectLst/>
                        </a:rPr>
                        <a:t>33</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DigitalOutput4</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0 or 1</a:t>
                      </a:r>
                      <a:endParaRPr lang="en-IN" sz="1200" b="0" i="0" u="none" strike="noStrike">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4175453605"/>
                  </a:ext>
                </a:extLst>
              </a:tr>
              <a:tr h="198120">
                <a:tc>
                  <a:txBody>
                    <a:bodyPr/>
                    <a:lstStyle/>
                    <a:p>
                      <a:pPr algn="l" rtl="0" fontAlgn="ctr"/>
                      <a:r>
                        <a:rPr lang="en-IN" sz="1200" u="none" strike="noStrike">
                          <a:effectLst/>
                        </a:rPr>
                        <a:t>34</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FrameNumber</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a:effectLst/>
                        </a:rPr>
                        <a:t>Numeric</a:t>
                      </a:r>
                      <a:endParaRPr lang="en-IN" sz="1200" b="0" i="0" u="none" strike="noStrike">
                        <a:solidFill>
                          <a:srgbClr val="000000"/>
                        </a:solidFill>
                        <a:effectLst/>
                        <a:latin typeface="Calibri" panose="020F0502020204030204" pitchFamily="34" charset="0"/>
                      </a:endParaRPr>
                    </a:p>
                  </a:txBody>
                  <a:tcPr marL="7620" marR="7620" marT="7620" marB="0" anchor="ctr"/>
                </a:tc>
                <a:tc>
                  <a:txBody>
                    <a:bodyPr/>
                    <a:lstStyle/>
                    <a:p>
                      <a:pPr algn="l" rtl="0" fontAlgn="ctr"/>
                      <a:r>
                        <a:rPr lang="en-IN" sz="1200" u="none" strike="noStrike" dirty="0">
                          <a:effectLst/>
                        </a:rPr>
                        <a:t>000001 to 999999</a:t>
                      </a:r>
                      <a:endParaRPr lang="en-IN" sz="1200" b="0"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537027491"/>
                  </a:ext>
                </a:extLst>
              </a:tr>
            </a:tbl>
          </a:graphicData>
        </a:graphic>
      </p:graphicFrame>
      <p:sp>
        <p:nvSpPr>
          <p:cNvPr id="13" name="Rectangle 12">
            <a:extLst>
              <a:ext uri="{FF2B5EF4-FFF2-40B4-BE49-F238E27FC236}">
                <a16:creationId xmlns:a16="http://schemas.microsoft.com/office/drawing/2014/main" id="{02B8FBF3-D77F-420D-B80F-FA7F6C50872A}"/>
              </a:ext>
            </a:extLst>
          </p:cNvPr>
          <p:cNvSpPr/>
          <p:nvPr/>
        </p:nvSpPr>
        <p:spPr>
          <a:xfrm>
            <a:off x="6816466" y="4339266"/>
            <a:ext cx="4249881" cy="369332"/>
          </a:xfrm>
          <a:prstGeom prst="rect">
            <a:avLst/>
          </a:prstGeom>
        </p:spPr>
        <p:txBody>
          <a:bodyPr wrap="none">
            <a:spAutoFit/>
          </a:bodyPr>
          <a:lstStyle/>
          <a:p>
            <a:r>
              <a:rPr lang="en-IN" dirty="0"/>
              <a:t>Folder Containing one file for each IMEI</a:t>
            </a:r>
          </a:p>
        </p:txBody>
      </p:sp>
    </p:spTree>
    <p:extLst>
      <p:ext uri="{BB962C8B-B14F-4D97-AF65-F5344CB8AC3E}">
        <p14:creationId xmlns:p14="http://schemas.microsoft.com/office/powerpoint/2010/main" val="1342280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3A97CA-1D46-40C6-A7B1-55D702DC95C7}"/>
              </a:ext>
            </a:extLst>
          </p:cNvPr>
          <p:cNvSpPr>
            <a:spLocks noGrp="1"/>
          </p:cNvSpPr>
          <p:nvPr>
            <p:ph idx="1"/>
          </p:nvPr>
        </p:nvSpPr>
        <p:spPr/>
        <p:txBody>
          <a:bodyPr/>
          <a:lstStyle/>
          <a:p>
            <a:r>
              <a:rPr lang="en-IN" sz="2000" dirty="0"/>
              <a:t>Summary file for each Port and Day containing following fields</a:t>
            </a:r>
          </a:p>
          <a:p>
            <a:pPr lvl="1"/>
            <a:r>
              <a:rPr lang="en-IN" sz="1800" dirty="0"/>
              <a:t>Input </a:t>
            </a:r>
            <a:r>
              <a:rPr lang="en-IN" sz="1800" dirty="0" err="1"/>
              <a:t>FileName</a:t>
            </a:r>
            <a:endParaRPr lang="en-IN" sz="1800" dirty="0"/>
          </a:p>
          <a:p>
            <a:pPr lvl="1"/>
            <a:r>
              <a:rPr lang="en-IN" sz="1800" dirty="0"/>
              <a:t>Total number of PVT Data Packets</a:t>
            </a:r>
          </a:p>
          <a:p>
            <a:pPr lvl="1"/>
            <a:r>
              <a:rPr lang="en-IN" sz="1800" dirty="0"/>
              <a:t>Total Number of PVT Records</a:t>
            </a:r>
          </a:p>
          <a:p>
            <a:pPr lvl="1"/>
            <a:r>
              <a:rPr lang="en-IN" sz="1800" dirty="0"/>
              <a:t># Good PVT Records</a:t>
            </a:r>
          </a:p>
          <a:p>
            <a:pPr lvl="1"/>
            <a:r>
              <a:rPr lang="en-IN" sz="1800" dirty="0"/>
              <a:t>#Rejected PVT Records</a:t>
            </a:r>
          </a:p>
          <a:p>
            <a:r>
              <a:rPr lang="en-IN" sz="2000" dirty="0"/>
              <a:t>Error file for each Port and Day containing following fields</a:t>
            </a:r>
          </a:p>
          <a:p>
            <a:pPr lvl="1"/>
            <a:r>
              <a:rPr lang="en-IN" sz="1800" dirty="0" err="1"/>
              <a:t>RecordID</a:t>
            </a:r>
            <a:endParaRPr lang="en-IN" sz="1800" dirty="0"/>
          </a:p>
          <a:p>
            <a:pPr lvl="1"/>
            <a:r>
              <a:rPr lang="en-IN" sz="1800" dirty="0"/>
              <a:t>Port</a:t>
            </a:r>
          </a:p>
          <a:p>
            <a:pPr lvl="1"/>
            <a:r>
              <a:rPr lang="en-IN" sz="1800" dirty="0" err="1"/>
              <a:t>PacketIndex</a:t>
            </a:r>
            <a:endParaRPr lang="en-IN" sz="1800" dirty="0"/>
          </a:p>
          <a:p>
            <a:pPr lvl="1"/>
            <a:r>
              <a:rPr lang="en-IN" sz="1800" dirty="0"/>
              <a:t>Error Description</a:t>
            </a:r>
          </a:p>
          <a:p>
            <a:pPr lvl="1"/>
            <a:r>
              <a:rPr lang="en-IN" sz="1800" dirty="0"/>
              <a:t>Original PVT Record</a:t>
            </a:r>
          </a:p>
          <a:p>
            <a:r>
              <a:rPr lang="en-IN" sz="2000" dirty="0"/>
              <a:t>Good Record file for each Port and each day containing following Fields</a:t>
            </a:r>
          </a:p>
          <a:p>
            <a:pPr lvl="1"/>
            <a:r>
              <a:rPr lang="en-IN" sz="1800" dirty="0" err="1"/>
              <a:t>RecordID</a:t>
            </a:r>
            <a:endParaRPr lang="en-IN" sz="1800" dirty="0"/>
          </a:p>
          <a:p>
            <a:pPr lvl="1"/>
            <a:r>
              <a:rPr lang="en-IN" sz="1800" dirty="0"/>
              <a:t>Original PVT Record</a:t>
            </a:r>
          </a:p>
          <a:p>
            <a:endParaRPr lang="en-IN" dirty="0"/>
          </a:p>
        </p:txBody>
      </p:sp>
      <p:sp>
        <p:nvSpPr>
          <p:cNvPr id="3" name="Title 2">
            <a:extLst>
              <a:ext uri="{FF2B5EF4-FFF2-40B4-BE49-F238E27FC236}">
                <a16:creationId xmlns:a16="http://schemas.microsoft.com/office/drawing/2014/main" id="{FB37100A-A71F-45E5-BCD7-04DE7950102E}"/>
              </a:ext>
            </a:extLst>
          </p:cNvPr>
          <p:cNvSpPr>
            <a:spLocks noGrp="1"/>
          </p:cNvSpPr>
          <p:nvPr>
            <p:ph type="title"/>
          </p:nvPr>
        </p:nvSpPr>
        <p:spPr/>
        <p:txBody>
          <a:bodyPr/>
          <a:lstStyle/>
          <a:p>
            <a:r>
              <a:rPr lang="en-IN" dirty="0"/>
              <a:t>Output Summary Data from Raw Data Extraction</a:t>
            </a:r>
          </a:p>
        </p:txBody>
      </p:sp>
    </p:spTree>
    <p:extLst>
      <p:ext uri="{BB962C8B-B14F-4D97-AF65-F5344CB8AC3E}">
        <p14:creationId xmlns:p14="http://schemas.microsoft.com/office/powerpoint/2010/main" val="3940206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D5F50-86BD-48ED-ADC1-A66F84BFE745}"/>
              </a:ext>
            </a:extLst>
          </p:cNvPr>
          <p:cNvSpPr>
            <a:spLocks noGrp="1"/>
          </p:cNvSpPr>
          <p:nvPr>
            <p:ph type="ctrTitle"/>
          </p:nvPr>
        </p:nvSpPr>
        <p:spPr/>
        <p:txBody>
          <a:bodyPr/>
          <a:lstStyle/>
          <a:p>
            <a:r>
              <a:rPr lang="en-IN" dirty="0"/>
              <a:t>VTS Data Cleaning Flow For Good PVT Records</a:t>
            </a:r>
          </a:p>
        </p:txBody>
      </p:sp>
      <p:sp>
        <p:nvSpPr>
          <p:cNvPr id="3" name="Subtitle 2">
            <a:extLst>
              <a:ext uri="{FF2B5EF4-FFF2-40B4-BE49-F238E27FC236}">
                <a16:creationId xmlns:a16="http://schemas.microsoft.com/office/drawing/2014/main" id="{72F3AEFE-E60B-4C89-8A7D-30C55B88A24B}"/>
              </a:ext>
            </a:extLst>
          </p:cNvPr>
          <p:cNvSpPr>
            <a:spLocks noGrp="1"/>
          </p:cNvSpPr>
          <p:nvPr>
            <p:ph type="subTitle" idx="1"/>
          </p:nvPr>
        </p:nvSpPr>
        <p:spPr/>
        <p:txBody>
          <a:bodyPr/>
          <a:lstStyle/>
          <a:p>
            <a:r>
              <a:rPr lang="en-IN" dirty="0"/>
              <a:t>Workflow Design</a:t>
            </a:r>
          </a:p>
        </p:txBody>
      </p:sp>
    </p:spTree>
    <p:extLst>
      <p:ext uri="{BB962C8B-B14F-4D97-AF65-F5344CB8AC3E}">
        <p14:creationId xmlns:p14="http://schemas.microsoft.com/office/powerpoint/2010/main" val="3241898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DCB0B9-B112-482D-A1E7-9ED8046D5EE9}"/>
              </a:ext>
            </a:extLst>
          </p:cNvPr>
          <p:cNvSpPr>
            <a:spLocks noGrp="1"/>
          </p:cNvSpPr>
          <p:nvPr>
            <p:ph type="title"/>
          </p:nvPr>
        </p:nvSpPr>
        <p:spPr/>
        <p:txBody>
          <a:bodyPr/>
          <a:lstStyle/>
          <a:p>
            <a:r>
              <a:rPr lang="en-IN" dirty="0"/>
              <a:t>Data Cleaning Workflow for each IMEI	</a:t>
            </a:r>
          </a:p>
        </p:txBody>
      </p:sp>
      <p:graphicFrame>
        <p:nvGraphicFramePr>
          <p:cNvPr id="6" name="Diagram 5">
            <a:extLst>
              <a:ext uri="{FF2B5EF4-FFF2-40B4-BE49-F238E27FC236}">
                <a16:creationId xmlns:a16="http://schemas.microsoft.com/office/drawing/2014/main" id="{2F876390-8D14-4B96-A05E-2D47E96893B2}"/>
              </a:ext>
            </a:extLst>
          </p:cNvPr>
          <p:cNvGraphicFramePr/>
          <p:nvPr>
            <p:extLst>
              <p:ext uri="{D42A27DB-BD31-4B8C-83A1-F6EECF244321}">
                <p14:modId xmlns:p14="http://schemas.microsoft.com/office/powerpoint/2010/main" val="522453564"/>
              </p:ext>
            </p:extLst>
          </p:nvPr>
        </p:nvGraphicFramePr>
        <p:xfrm>
          <a:off x="1145592" y="1169566"/>
          <a:ext cx="8128000" cy="23326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305029FC-8E34-4D58-9B0F-06E903404F65}"/>
              </a:ext>
            </a:extLst>
          </p:cNvPr>
          <p:cNvGraphicFramePr/>
          <p:nvPr>
            <p:extLst>
              <p:ext uri="{D42A27DB-BD31-4B8C-83A1-F6EECF244321}">
                <p14:modId xmlns:p14="http://schemas.microsoft.com/office/powerpoint/2010/main" val="2162259811"/>
              </p:ext>
            </p:extLst>
          </p:nvPr>
        </p:nvGraphicFramePr>
        <p:xfrm>
          <a:off x="2967135" y="3842917"/>
          <a:ext cx="6391470" cy="216599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Arrow: Right 10">
            <a:extLst>
              <a:ext uri="{FF2B5EF4-FFF2-40B4-BE49-F238E27FC236}">
                <a16:creationId xmlns:a16="http://schemas.microsoft.com/office/drawing/2014/main" id="{1F847C73-40C1-4291-8695-4DAAE06EAA89}"/>
              </a:ext>
            </a:extLst>
          </p:cNvPr>
          <p:cNvSpPr/>
          <p:nvPr/>
        </p:nvSpPr>
        <p:spPr>
          <a:xfrm>
            <a:off x="8957388" y="1380931"/>
            <a:ext cx="1315616" cy="279918"/>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2" name="Flowchart: Summing Junction 11">
            <a:extLst>
              <a:ext uri="{FF2B5EF4-FFF2-40B4-BE49-F238E27FC236}">
                <a16:creationId xmlns:a16="http://schemas.microsoft.com/office/drawing/2014/main" id="{EA4DF83A-988F-4688-828F-4A29F6AFAFC6}"/>
              </a:ext>
            </a:extLst>
          </p:cNvPr>
          <p:cNvSpPr/>
          <p:nvPr/>
        </p:nvSpPr>
        <p:spPr>
          <a:xfrm>
            <a:off x="10226351" y="1250302"/>
            <a:ext cx="643812" cy="559837"/>
          </a:xfrm>
          <a:prstGeom prst="flowChartSummingJunction">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3" name="Arrow: Right 12">
            <a:extLst>
              <a:ext uri="{FF2B5EF4-FFF2-40B4-BE49-F238E27FC236}">
                <a16:creationId xmlns:a16="http://schemas.microsoft.com/office/drawing/2014/main" id="{75BD6BF2-64DC-4501-A020-655BF9367AFF}"/>
              </a:ext>
            </a:extLst>
          </p:cNvPr>
          <p:cNvSpPr/>
          <p:nvPr/>
        </p:nvSpPr>
        <p:spPr>
          <a:xfrm>
            <a:off x="1651518" y="4276660"/>
            <a:ext cx="1315616" cy="279918"/>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4" name="Flowchart: Summing Junction 13">
            <a:extLst>
              <a:ext uri="{FF2B5EF4-FFF2-40B4-BE49-F238E27FC236}">
                <a16:creationId xmlns:a16="http://schemas.microsoft.com/office/drawing/2014/main" id="{ED86F442-DE20-47DA-BB53-62283C92FC25}"/>
              </a:ext>
            </a:extLst>
          </p:cNvPr>
          <p:cNvSpPr/>
          <p:nvPr/>
        </p:nvSpPr>
        <p:spPr>
          <a:xfrm>
            <a:off x="1007706" y="4136700"/>
            <a:ext cx="643812" cy="559837"/>
          </a:xfrm>
          <a:prstGeom prst="flowChartSummingJunction">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2" name="TextBox 1">
            <a:extLst>
              <a:ext uri="{FF2B5EF4-FFF2-40B4-BE49-F238E27FC236}">
                <a16:creationId xmlns:a16="http://schemas.microsoft.com/office/drawing/2014/main" id="{EBB9073D-6D66-49B0-B7D3-C55B3DB65D6C}"/>
              </a:ext>
            </a:extLst>
          </p:cNvPr>
          <p:cNvSpPr txBox="1"/>
          <p:nvPr/>
        </p:nvSpPr>
        <p:spPr>
          <a:xfrm>
            <a:off x="9579429" y="3502220"/>
            <a:ext cx="1595534" cy="2492990"/>
          </a:xfrm>
          <a:prstGeom prst="rect">
            <a:avLst/>
          </a:prstGeom>
          <a:noFill/>
        </p:spPr>
        <p:txBody>
          <a:bodyPr wrap="square" rtlCol="0">
            <a:spAutoFit/>
          </a:bodyPr>
          <a:lstStyle/>
          <a:p>
            <a:r>
              <a:rPr lang="en-IN" sz="1200" dirty="0"/>
              <a:t>Outputs in two folders</a:t>
            </a:r>
          </a:p>
          <a:p>
            <a:endParaRPr lang="en-IN" sz="1200" dirty="0"/>
          </a:p>
          <a:p>
            <a:r>
              <a:rPr lang="en-IN" sz="1200" dirty="0" err="1"/>
              <a:t>AllData</a:t>
            </a:r>
            <a:r>
              <a:rPr lang="en-IN" sz="1200" dirty="0"/>
              <a:t>:  Containing all points with Remove and Comment flag</a:t>
            </a:r>
          </a:p>
          <a:p>
            <a:endParaRPr lang="en-IN" sz="1200" dirty="0"/>
          </a:p>
          <a:p>
            <a:r>
              <a:rPr lang="en-IN" sz="1200" dirty="0" err="1"/>
              <a:t>CleanData</a:t>
            </a:r>
            <a:r>
              <a:rPr lang="en-IN" sz="1200" dirty="0"/>
              <a:t>: </a:t>
            </a:r>
            <a:r>
              <a:rPr lang="en-IN" sz="1200" dirty="0" err="1"/>
              <a:t>Afer</a:t>
            </a:r>
            <a:r>
              <a:rPr lang="en-IN" sz="1200" dirty="0"/>
              <a:t> removing Remove points and Remove/Comment Columns</a:t>
            </a:r>
          </a:p>
        </p:txBody>
      </p:sp>
    </p:spTree>
    <p:extLst>
      <p:ext uri="{BB962C8B-B14F-4D97-AF65-F5344CB8AC3E}">
        <p14:creationId xmlns:p14="http://schemas.microsoft.com/office/powerpoint/2010/main" val="1305985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E46A02-F032-4CFB-BAC1-8FD068DFF15C}"/>
              </a:ext>
            </a:extLst>
          </p:cNvPr>
          <p:cNvSpPr>
            <a:spLocks noGrp="1"/>
          </p:cNvSpPr>
          <p:nvPr>
            <p:ph type="title"/>
          </p:nvPr>
        </p:nvSpPr>
        <p:spPr/>
        <p:txBody>
          <a:bodyPr/>
          <a:lstStyle/>
          <a:p>
            <a:r>
              <a:rPr lang="en-IN" dirty="0"/>
              <a:t>Split </a:t>
            </a:r>
            <a:r>
              <a:rPr lang="en-IN" dirty="0" err="1"/>
              <a:t>GeoSpatialSeparated</a:t>
            </a:r>
            <a:r>
              <a:rPr lang="en-IN" dirty="0"/>
              <a:t> Segments in a Trip</a:t>
            </a:r>
          </a:p>
        </p:txBody>
      </p:sp>
      <p:graphicFrame>
        <p:nvGraphicFramePr>
          <p:cNvPr id="4" name="Diagram 3">
            <a:extLst>
              <a:ext uri="{FF2B5EF4-FFF2-40B4-BE49-F238E27FC236}">
                <a16:creationId xmlns:a16="http://schemas.microsoft.com/office/drawing/2014/main" id="{33450933-349A-46CC-AC8C-C86EC8D69F41}"/>
              </a:ext>
            </a:extLst>
          </p:cNvPr>
          <p:cNvGraphicFramePr/>
          <p:nvPr>
            <p:extLst>
              <p:ext uri="{D42A27DB-BD31-4B8C-83A1-F6EECF244321}">
                <p14:modId xmlns:p14="http://schemas.microsoft.com/office/powerpoint/2010/main" val="1016863838"/>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4994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nsorise_base">
  <a:themeElements>
    <a:clrScheme name="Sensorise 1">
      <a:dk1>
        <a:sysClr val="windowText" lastClr="000000"/>
      </a:dk1>
      <a:lt1>
        <a:sysClr val="window" lastClr="FFFFFF"/>
      </a:lt1>
      <a:dk2>
        <a:srgbClr val="4C4C4C"/>
      </a:dk2>
      <a:lt2>
        <a:srgbClr val="EEECE1"/>
      </a:lt2>
      <a:accent1>
        <a:srgbClr val="0086BD"/>
      </a:accent1>
      <a:accent2>
        <a:srgbClr val="76AC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0">
          <a:solidFill>
            <a:schemeClr val="accent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Sensorise PPT Template" id="{C7DB97E4-3DA7-411E-84D7-6632436EFD7C}" vid="{0249FA90-465A-4A11-9F10-1FE91DF4A8A6}"/>
    </a:ext>
  </a:extLst>
</a:theme>
</file>

<file path=docProps/app.xml><?xml version="1.0" encoding="utf-8"?>
<Properties xmlns="http://schemas.openxmlformats.org/officeDocument/2006/extended-properties" xmlns:vt="http://schemas.openxmlformats.org/officeDocument/2006/docPropsVTypes">
  <Template>Sensorise PPT Template</Template>
  <TotalTime>416</TotalTime>
  <Words>1001</Words>
  <Application>Microsoft Office PowerPoint</Application>
  <PresentationFormat>Widescreen</PresentationFormat>
  <Paragraphs>285</Paragraphs>
  <Slides>1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Helvetica</vt:lpstr>
      <vt:lpstr>Wingdings</vt:lpstr>
      <vt:lpstr>Sensorise_base</vt:lpstr>
      <vt:lpstr>think-cell Slide</vt:lpstr>
      <vt:lpstr>VTS Data Set Cleaning</vt:lpstr>
      <vt:lpstr>VTS Data Format</vt:lpstr>
      <vt:lpstr>Raw Data Structure</vt:lpstr>
      <vt:lpstr>Data Validations</vt:lpstr>
      <vt:lpstr>VTS Data Output Format</vt:lpstr>
      <vt:lpstr>Output Summary Data from Raw Data Extraction</vt:lpstr>
      <vt:lpstr>VTS Data Cleaning Flow For Good PVT Records</vt:lpstr>
      <vt:lpstr>Data Cleaning Workflow for each IMEI </vt:lpstr>
      <vt:lpstr>Split GeoSpatialSeparated Segments in a Trip</vt:lpstr>
      <vt:lpstr>Data Cleaning Summary Output</vt:lpstr>
      <vt:lpstr>Demo of Clean Data</vt:lpstr>
      <vt:lpstr>Summary Displ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TS Data Set Cleaning</dc:title>
  <dc:creator>Rajeev Arora</dc:creator>
  <cp:lastModifiedBy>saurabh.chakravorty@sensorise.net</cp:lastModifiedBy>
  <cp:revision>51</cp:revision>
  <dcterms:created xsi:type="dcterms:W3CDTF">2019-05-03T06:21:04Z</dcterms:created>
  <dcterms:modified xsi:type="dcterms:W3CDTF">2019-07-04T07:52:58Z</dcterms:modified>
</cp:coreProperties>
</file>